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media/image27.jpg" ContentType="image/png"/>
  <Override PartName="/ppt/media/image28.jpg" ContentType="image/png"/>
  <Override PartName="/ppt/media/image37.jpg" ContentType="image/png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16" r:id="rId2"/>
    <p:sldId id="597" r:id="rId3"/>
    <p:sldId id="582" r:id="rId4"/>
    <p:sldId id="585" r:id="rId5"/>
    <p:sldId id="591" r:id="rId6"/>
    <p:sldId id="587" r:id="rId7"/>
    <p:sldId id="588" r:id="rId8"/>
    <p:sldId id="589" r:id="rId9"/>
    <p:sldId id="590" r:id="rId10"/>
    <p:sldId id="592" r:id="rId11"/>
    <p:sldId id="593" r:id="rId12"/>
    <p:sldId id="594" r:id="rId13"/>
    <p:sldId id="595" r:id="rId14"/>
    <p:sldId id="596" r:id="rId15"/>
  </p:sldIdLst>
  <p:sldSz cx="12192000" cy="6858000"/>
  <p:notesSz cx="6797675" cy="9928225"/>
  <p:custDataLst>
    <p:tags r:id="rId18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5" orient="horz" pos="197" userDrawn="1">
          <p15:clr>
            <a:srgbClr val="A4A3A4"/>
          </p15:clr>
        </p15:guide>
        <p15:guide id="6" orient="horz" pos="3786" userDrawn="1">
          <p15:clr>
            <a:srgbClr val="A4A3A4"/>
          </p15:clr>
        </p15:guide>
        <p15:guide id="7" pos="7348" userDrawn="1">
          <p15:clr>
            <a:srgbClr val="A4A3A4"/>
          </p15:clr>
        </p15:guide>
        <p15:guide id="8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466B"/>
    <a:srgbClr val="F0CD4E"/>
    <a:srgbClr val="F7A81B"/>
    <a:srgbClr val="D38A07"/>
    <a:srgbClr val="A40000"/>
    <a:srgbClr val="F8F200"/>
    <a:srgbClr val="00497C"/>
    <a:srgbClr val="5DAB53"/>
    <a:srgbClr val="004C81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5" autoAdjust="0"/>
    <p:restoredTop sz="94611" autoAdjust="0"/>
  </p:normalViewPr>
  <p:slideViewPr>
    <p:cSldViewPr snapToObjects="1" showGuides="1">
      <p:cViewPr varScale="1">
        <p:scale>
          <a:sx n="110" d="100"/>
          <a:sy n="110" d="100"/>
        </p:scale>
        <p:origin x="126" y="114"/>
      </p:cViewPr>
      <p:guideLst>
        <p:guide orient="horz" pos="4110"/>
        <p:guide orient="horz" pos="436"/>
        <p:guide orient="horz" pos="2160"/>
        <p:guide orient="horz"/>
        <p:guide orient="horz" pos="197"/>
        <p:guide orient="horz" pos="3786"/>
        <p:guide pos="7348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>
        <p:scale>
          <a:sx n="90" d="100"/>
          <a:sy n="90" d="100"/>
        </p:scale>
        <p:origin x="3714" y="-276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g"/><Relationship Id="rId13" Type="http://schemas.openxmlformats.org/officeDocument/2006/relationships/image" Target="../media/image37.jpg"/><Relationship Id="rId3" Type="http://schemas.openxmlformats.org/officeDocument/2006/relationships/image" Target="../media/image27.jpg"/><Relationship Id="rId7" Type="http://schemas.openxmlformats.org/officeDocument/2006/relationships/image" Target="../media/image31.jpg"/><Relationship Id="rId12" Type="http://schemas.openxmlformats.org/officeDocument/2006/relationships/image" Target="../media/image36.jpg"/><Relationship Id="rId2" Type="http://schemas.openxmlformats.org/officeDocument/2006/relationships/image" Target="../media/image26.jpg"/><Relationship Id="rId1" Type="http://schemas.openxmlformats.org/officeDocument/2006/relationships/image" Target="../media/image25.jpg"/><Relationship Id="rId6" Type="http://schemas.openxmlformats.org/officeDocument/2006/relationships/image" Target="../media/image30.jpg"/><Relationship Id="rId11" Type="http://schemas.openxmlformats.org/officeDocument/2006/relationships/image" Target="../media/image35.jpg"/><Relationship Id="rId5" Type="http://schemas.openxmlformats.org/officeDocument/2006/relationships/image" Target="../media/image29.jpg"/><Relationship Id="rId10" Type="http://schemas.openxmlformats.org/officeDocument/2006/relationships/image" Target="../media/image34.jpg"/><Relationship Id="rId4" Type="http://schemas.openxmlformats.org/officeDocument/2006/relationships/image" Target="../media/image28.jpg"/><Relationship Id="rId9" Type="http://schemas.openxmlformats.org/officeDocument/2006/relationships/image" Target="../media/image33.jpg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g"/><Relationship Id="rId13" Type="http://schemas.openxmlformats.org/officeDocument/2006/relationships/image" Target="../media/image37.jpg"/><Relationship Id="rId3" Type="http://schemas.openxmlformats.org/officeDocument/2006/relationships/image" Target="../media/image27.jpg"/><Relationship Id="rId7" Type="http://schemas.openxmlformats.org/officeDocument/2006/relationships/image" Target="../media/image31.jpg"/><Relationship Id="rId12" Type="http://schemas.openxmlformats.org/officeDocument/2006/relationships/image" Target="../media/image36.jpg"/><Relationship Id="rId2" Type="http://schemas.openxmlformats.org/officeDocument/2006/relationships/image" Target="../media/image26.jpg"/><Relationship Id="rId1" Type="http://schemas.openxmlformats.org/officeDocument/2006/relationships/image" Target="../media/image25.jpg"/><Relationship Id="rId6" Type="http://schemas.openxmlformats.org/officeDocument/2006/relationships/image" Target="../media/image30.jpg"/><Relationship Id="rId11" Type="http://schemas.openxmlformats.org/officeDocument/2006/relationships/image" Target="../media/image35.jpg"/><Relationship Id="rId5" Type="http://schemas.openxmlformats.org/officeDocument/2006/relationships/image" Target="../media/image29.jpg"/><Relationship Id="rId10" Type="http://schemas.openxmlformats.org/officeDocument/2006/relationships/image" Target="../media/image34.jpg"/><Relationship Id="rId4" Type="http://schemas.openxmlformats.org/officeDocument/2006/relationships/image" Target="../media/image28.jpg"/><Relationship Id="rId9" Type="http://schemas.openxmlformats.org/officeDocument/2006/relationships/image" Target="../media/image33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751603-CECA-4995-95EC-2F4CEA2C1FFC}" type="doc">
      <dgm:prSet loTypeId="urn:microsoft.com/office/officeart/2005/8/layout/chevron2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fr-FR"/>
        </a:p>
      </dgm:t>
    </dgm:pt>
    <dgm:pt modelId="{29CBFC0E-EAD3-47B9-88AA-956EF537DA39}">
      <dgm:prSet phldrT="[Texte]" custT="1"/>
      <dgm:spPr>
        <a:solidFill>
          <a:srgbClr val="12466B">
            <a:alpha val="40000"/>
          </a:srgbClr>
        </a:solidFill>
      </dgm:spPr>
      <dgm:t>
        <a:bodyPr/>
        <a:lstStyle/>
        <a:p>
          <a:pPr marL="0" indent="0" algn="ctr" defTabSz="985838">
            <a:tabLst/>
          </a:pPr>
          <a:r>
            <a:rPr lang="fr-FR" sz="1200" b="1" dirty="0">
              <a:solidFill>
                <a:srgbClr val="12466B"/>
              </a:solidFill>
              <a:latin typeface="Trebuchet MS" panose="020B0603020202020204" pitchFamily="34" charset="0"/>
            </a:rPr>
            <a:t>JANVIER</a:t>
          </a:r>
          <a:endParaRPr lang="fr-FR" sz="1600" b="1" dirty="0">
            <a:solidFill>
              <a:srgbClr val="12466B"/>
            </a:solidFill>
            <a:latin typeface="Trebuchet MS" panose="020B0603020202020204" pitchFamily="34" charset="0"/>
          </a:endParaRPr>
        </a:p>
      </dgm:t>
    </dgm:pt>
    <dgm:pt modelId="{C46BF69D-1429-424A-8381-830DCBC34CB9}" type="parTrans" cxnId="{867E1545-95F3-40B0-A4A0-D6BC0710EB1E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4948DB16-95BA-4DE1-B6FD-6FE8425C6291}" type="sibTrans" cxnId="{867E1545-95F3-40B0-A4A0-D6BC0710EB1E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95CD2603-64B8-4FF2-9334-2ECD3E3113CB}">
      <dgm:prSet phldrT="[Texte]" custT="1"/>
      <dgm:spPr/>
      <dgm:t>
        <a:bodyPr/>
        <a:lstStyle/>
        <a:p>
          <a:r>
            <a:rPr lang="fr-FR" sz="2000" dirty="0">
              <a:latin typeface="Trebuchet MS" panose="020B0603020202020204" pitchFamily="34" charset="0"/>
            </a:rPr>
            <a:t>Transmission du projet LDIS au Grand Conseil</a:t>
          </a:r>
        </a:p>
      </dgm:t>
    </dgm:pt>
    <dgm:pt modelId="{8A7C8358-6514-49BF-8B15-2B685056FDCB}" type="parTrans" cxnId="{D7ACB59A-B0AB-41F8-97D0-C900EC414FBD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5D160183-DE5A-4086-A4AE-62F98712D8C3}" type="sibTrans" cxnId="{D7ACB59A-B0AB-41F8-97D0-C900EC414FBD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EE4B11D4-3DBC-471D-B0CF-C09055352364}">
      <dgm:prSet phldrT="[Texte]" custT="1"/>
      <dgm:spPr>
        <a:solidFill>
          <a:srgbClr val="12466B">
            <a:alpha val="54902"/>
          </a:srgbClr>
        </a:solidFill>
      </dgm:spPr>
      <dgm:t>
        <a:bodyPr/>
        <a:lstStyle/>
        <a:p>
          <a:r>
            <a:rPr lang="fr-FR" sz="1200" b="1" dirty="0">
              <a:solidFill>
                <a:srgbClr val="12466B"/>
              </a:solidFill>
              <a:latin typeface="Trebuchet MS" panose="020B0603020202020204" pitchFamily="34" charset="0"/>
            </a:rPr>
            <a:t>MARS</a:t>
          </a:r>
        </a:p>
      </dgm:t>
    </dgm:pt>
    <dgm:pt modelId="{626FA825-0C30-4635-9EF4-A4F65C66EA7C}" type="parTrans" cxnId="{9CE1C07A-30AC-4CAA-826C-07F7D4F32F0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9270D77C-3CD7-4B98-9687-006A15CC8D2C}" type="sibTrans" cxnId="{9CE1C07A-30AC-4CAA-826C-07F7D4F32F0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D35496E3-47DE-45E9-98D2-59FD137856F0}">
      <dgm:prSet phldrT="[Texte]" custT="1"/>
      <dgm:spPr/>
      <dgm:t>
        <a:bodyPr/>
        <a:lstStyle/>
        <a:p>
          <a:r>
            <a:rPr lang="fr-FR" sz="2000" dirty="0">
              <a:latin typeface="Trebuchet MS" panose="020B0603020202020204" pitchFamily="34" charset="0"/>
            </a:rPr>
            <a:t>Adoption de la LDIS par le Grand Conseil</a:t>
          </a:r>
          <a:br>
            <a:rPr lang="fr-FR" sz="2000" dirty="0">
              <a:latin typeface="Trebuchet MS" panose="020B0603020202020204" pitchFamily="34" charset="0"/>
            </a:rPr>
          </a:br>
          <a:r>
            <a:rPr lang="fr-FR" sz="2000" dirty="0">
              <a:latin typeface="Trebuchet MS" panose="020B0603020202020204" pitchFamily="34" charset="0"/>
            </a:rPr>
            <a:t>(95 voix pour et 1 contre)</a:t>
          </a:r>
        </a:p>
      </dgm:t>
    </dgm:pt>
    <dgm:pt modelId="{1AF2FF46-152A-4F4C-A9BE-ACF7704E1645}" type="parTrans" cxnId="{6EAEFF0E-B2DF-4BD2-B7B5-0B2F93EAC014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6387503A-C409-4B5E-A224-0A790A284507}" type="sibTrans" cxnId="{6EAEFF0E-B2DF-4BD2-B7B5-0B2F93EAC014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E2FE1E4C-6891-4E0B-8CA6-851D544912DF}">
      <dgm:prSet phldrT="[Texte]" custT="1"/>
      <dgm:spPr>
        <a:solidFill>
          <a:srgbClr val="12466B">
            <a:alpha val="69804"/>
          </a:srgbClr>
        </a:solidFill>
      </dgm:spPr>
      <dgm:t>
        <a:bodyPr/>
        <a:lstStyle/>
        <a:p>
          <a:r>
            <a:rPr lang="fr-FR" sz="1200" b="1" dirty="0">
              <a:solidFill>
                <a:schemeClr val="bg1"/>
              </a:solidFill>
              <a:latin typeface="Trebuchet MS" panose="020B0603020202020204" pitchFamily="34" charset="0"/>
            </a:rPr>
            <a:t>JUIN</a:t>
          </a:r>
        </a:p>
      </dgm:t>
    </dgm:pt>
    <dgm:pt modelId="{14408B3A-3B26-4571-A45B-49127B3C6B1A}" type="parTrans" cxnId="{1D59D24B-F097-417C-A299-82143D0C523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31E42903-78D2-41D9-8F5B-EDA496869282}" type="sibTrans" cxnId="{1D59D24B-F097-417C-A299-82143D0C523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80C7DDB8-4922-4C8E-A85E-A02F6A38AB18}">
      <dgm:prSet phldrT="[Texte]" custT="1"/>
      <dgm:spPr>
        <a:solidFill>
          <a:srgbClr val="12466B">
            <a:alpha val="85098"/>
          </a:srgbClr>
        </a:solidFill>
      </dgm:spPr>
      <dgm:t>
        <a:bodyPr/>
        <a:lstStyle/>
        <a:p>
          <a:r>
            <a:rPr lang="fr-FR" sz="900" b="1" dirty="0">
              <a:solidFill>
                <a:schemeClr val="bg1"/>
              </a:solidFill>
              <a:latin typeface="Trebuchet MS" panose="020B0603020202020204" pitchFamily="34" charset="0"/>
            </a:rPr>
            <a:t>SEPTEMBRE</a:t>
          </a:r>
        </a:p>
      </dgm:t>
    </dgm:pt>
    <dgm:pt modelId="{FA7E7E4B-6555-4600-8F36-632D8EF1195F}" type="parTrans" cxnId="{4B0CB812-8085-47A0-B531-A8816B52DD89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001DEAB1-ECE7-4147-9B0E-FD2A8F47B19F}" type="sibTrans" cxnId="{4B0CB812-8085-47A0-B531-A8816B52DD89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1AB31335-3BD2-4BE4-9CDD-22959669F114}">
      <dgm:prSet phldrT="[Texte]" custT="1"/>
      <dgm:spPr/>
      <dgm:t>
        <a:bodyPr/>
        <a:lstStyle/>
        <a:p>
          <a:r>
            <a:rPr lang="fr-FR" sz="2000" dirty="0">
              <a:latin typeface="Trebuchet MS" panose="020B0603020202020204" pitchFamily="34" charset="0"/>
            </a:rPr>
            <a:t>Validation de l'engagement du Directeur Secours</a:t>
          </a:r>
        </a:p>
      </dgm:t>
    </dgm:pt>
    <dgm:pt modelId="{E29957F5-FD9B-4F18-B0AF-EE7AE88E3494}" type="parTrans" cxnId="{7629BAE0-5DDB-413D-BDA3-3AB3AC7DBDE5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B86E0252-A759-42E0-BE9C-E615BE136933}" type="sibTrans" cxnId="{7629BAE0-5DDB-413D-BDA3-3AB3AC7DBDE5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DDAD0FA0-200A-48AF-AE0C-B03C953CDEF0}">
      <dgm:prSet phldrT="[Texte]" custT="1"/>
      <dgm:spPr/>
      <dgm:t>
        <a:bodyPr/>
        <a:lstStyle/>
        <a:p>
          <a:r>
            <a:rPr lang="fr-FR" sz="2000" dirty="0">
              <a:latin typeface="Trebuchet MS" panose="020B0603020202020204" pitchFamily="34" charset="0"/>
            </a:rPr>
            <a:t>Constitution du COPIL/COPRO RSS</a:t>
          </a:r>
        </a:p>
      </dgm:t>
    </dgm:pt>
    <dgm:pt modelId="{2E7B5213-25EA-4E01-B451-0A0B3DD8ABAB}" type="parTrans" cxnId="{8D55D92F-833A-4DE6-9F1F-3D78A3FEAB2B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9F50F7C2-9620-4C52-9072-B3146757AE70}" type="sibTrans" cxnId="{8D55D92F-833A-4DE6-9F1F-3D78A3FEAB2B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DDFC71ED-F840-414E-B4E2-881E538CA375}">
      <dgm:prSet phldrT="[Texte]"/>
      <dgm:spPr>
        <a:solidFill>
          <a:srgbClr val="12466B"/>
        </a:solidFill>
      </dgm:spPr>
      <dgm:t>
        <a:bodyPr/>
        <a:lstStyle/>
        <a:p>
          <a:r>
            <a:rPr lang="fr-FR" b="1" dirty="0">
              <a:solidFill>
                <a:schemeClr val="bg1"/>
              </a:solidFill>
              <a:latin typeface="Trebuchet MS" panose="020B0603020202020204" pitchFamily="34" charset="0"/>
            </a:rPr>
            <a:t>NOVEMBRE</a:t>
          </a:r>
        </a:p>
      </dgm:t>
    </dgm:pt>
    <dgm:pt modelId="{6FE4F540-9460-4DF8-B7A6-ADFDE0418318}" type="parTrans" cxnId="{238C4C05-5EE8-47E8-8D2D-628EE338CE5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8FE67CA9-E085-483E-B573-DC6C1236B397}" type="sibTrans" cxnId="{238C4C05-5EE8-47E8-8D2D-628EE338CE5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606D7D1A-F617-4F8D-89EA-1D876042D367}">
      <dgm:prSet custT="1"/>
      <dgm:spPr/>
      <dgm:t>
        <a:bodyPr/>
        <a:lstStyle/>
        <a:p>
          <a:r>
            <a:rPr lang="fr-FR" sz="2000" dirty="0">
              <a:latin typeface="Trebuchet MS" panose="020B0603020202020204" pitchFamily="34" charset="0"/>
            </a:rPr>
            <a:t>Séance d'information aux communes du district</a:t>
          </a:r>
        </a:p>
      </dgm:t>
    </dgm:pt>
    <dgm:pt modelId="{50ACE527-66A4-4AB9-B10C-029F99E06227}" type="parTrans" cxnId="{264E2C25-AF27-402A-BDD4-E858704F3020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B532FD9A-8482-4798-AE7D-8E8FE7A0EBB1}" type="sibTrans" cxnId="{264E2C25-AF27-402A-BDD4-E858704F3020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7AD1F696-DF14-4AC4-A021-EF288F4656FD}">
      <dgm:prSet phldrT="[Texte]" custT="1"/>
      <dgm:spPr/>
      <dgm:t>
        <a:bodyPr/>
        <a:lstStyle/>
        <a:p>
          <a:r>
            <a:rPr lang="fr-FR" sz="2000" dirty="0">
              <a:latin typeface="Trebuchet MS" panose="020B0603020202020204" pitchFamily="34" charset="0"/>
            </a:rPr>
            <a:t>1</a:t>
          </a:r>
          <a:r>
            <a:rPr lang="fr-FR" sz="2000" baseline="30000" dirty="0">
              <a:latin typeface="Trebuchet MS" panose="020B0603020202020204" pitchFamily="34" charset="0"/>
            </a:rPr>
            <a:t>ère</a:t>
          </a:r>
          <a:r>
            <a:rPr lang="fr-FR" sz="2000" dirty="0">
              <a:latin typeface="Trebuchet MS" panose="020B0603020202020204" pitchFamily="34" charset="0"/>
            </a:rPr>
            <a:t> séance d'information aux </a:t>
          </a:r>
          <a:r>
            <a:rPr lang="fr-FR" sz="2000" dirty="0" err="1">
              <a:latin typeface="Trebuchet MS" panose="020B0603020202020204" pitchFamily="34" charset="0"/>
            </a:rPr>
            <a:t>cdts</a:t>
          </a:r>
          <a:r>
            <a:rPr lang="fr-FR" sz="2000" dirty="0">
              <a:latin typeface="Trebuchet MS" panose="020B0603020202020204" pitchFamily="34" charset="0"/>
            </a:rPr>
            <a:t> CSP/</a:t>
          </a:r>
          <a:r>
            <a:rPr lang="fr-FR" sz="2000" dirty="0" err="1">
              <a:latin typeface="Trebuchet MS" panose="020B0603020202020204" pitchFamily="34" charset="0"/>
            </a:rPr>
            <a:t>CSPi</a:t>
          </a:r>
          <a:r>
            <a:rPr lang="fr-FR" sz="2000" dirty="0">
              <a:latin typeface="Trebuchet MS" panose="020B0603020202020204" pitchFamily="34" charset="0"/>
            </a:rPr>
            <a:t> du district</a:t>
          </a:r>
        </a:p>
      </dgm:t>
    </dgm:pt>
    <dgm:pt modelId="{1240B152-66D5-45C4-9AE0-13EB80DB7A61}" type="parTrans" cxnId="{BE4A4491-D8E6-429D-8E5B-6491656A867C}">
      <dgm:prSet/>
      <dgm:spPr/>
      <dgm:t>
        <a:bodyPr/>
        <a:lstStyle/>
        <a:p>
          <a:endParaRPr lang="fr-FR"/>
        </a:p>
      </dgm:t>
    </dgm:pt>
    <dgm:pt modelId="{49AE9EDB-549A-40EF-A170-416725AC8067}" type="sibTrans" cxnId="{BE4A4491-D8E6-429D-8E5B-6491656A867C}">
      <dgm:prSet/>
      <dgm:spPr/>
      <dgm:t>
        <a:bodyPr/>
        <a:lstStyle/>
        <a:p>
          <a:endParaRPr lang="fr-FR"/>
        </a:p>
      </dgm:t>
    </dgm:pt>
    <dgm:pt modelId="{55583437-5306-4F31-98A2-36F514CD4E7A}">
      <dgm:prSet custT="1"/>
      <dgm:spPr/>
      <dgm:t>
        <a:bodyPr/>
        <a:lstStyle/>
        <a:p>
          <a:r>
            <a:rPr lang="fr-FR" sz="2000" dirty="0">
              <a:latin typeface="Trebuchet MS" panose="020B0603020202020204" pitchFamily="34" charset="0"/>
            </a:rPr>
            <a:t>1</a:t>
          </a:r>
          <a:r>
            <a:rPr lang="fr-FR" sz="2000" baseline="30000" dirty="0">
              <a:latin typeface="Trebuchet MS" panose="020B0603020202020204" pitchFamily="34" charset="0"/>
            </a:rPr>
            <a:t>ère</a:t>
          </a:r>
          <a:r>
            <a:rPr lang="fr-FR" sz="2000" dirty="0">
              <a:latin typeface="Trebuchet MS" panose="020B0603020202020204" pitchFamily="34" charset="0"/>
            </a:rPr>
            <a:t> séance d'information aux </a:t>
          </a:r>
          <a:r>
            <a:rPr lang="fr-FR" sz="2000" dirty="0" err="1">
              <a:latin typeface="Trebuchet MS" panose="020B0603020202020204" pitchFamily="34" charset="0"/>
            </a:rPr>
            <a:t>cdts</a:t>
          </a:r>
          <a:r>
            <a:rPr lang="fr-FR" sz="2000" dirty="0">
              <a:latin typeface="Trebuchet MS" panose="020B0603020202020204" pitchFamily="34" charset="0"/>
            </a:rPr>
            <a:t> CSP/</a:t>
          </a:r>
          <a:r>
            <a:rPr lang="fr-FR" sz="2000" dirty="0" err="1">
              <a:latin typeface="Trebuchet MS" panose="020B0603020202020204" pitchFamily="34" charset="0"/>
            </a:rPr>
            <a:t>CSPi</a:t>
          </a:r>
          <a:r>
            <a:rPr lang="fr-FR" sz="2000" dirty="0">
              <a:latin typeface="Trebuchet MS" panose="020B0603020202020204" pitchFamily="34" charset="0"/>
            </a:rPr>
            <a:t> du district</a:t>
          </a:r>
        </a:p>
      </dgm:t>
    </dgm:pt>
    <dgm:pt modelId="{E2AE1784-9053-47D6-BDC1-24A861F23397}" type="parTrans" cxnId="{E166F0C1-5C3D-497E-BB4D-C55BE724261C}">
      <dgm:prSet/>
      <dgm:spPr/>
      <dgm:t>
        <a:bodyPr/>
        <a:lstStyle/>
        <a:p>
          <a:endParaRPr lang="fr-FR"/>
        </a:p>
      </dgm:t>
    </dgm:pt>
    <dgm:pt modelId="{A3034B87-E4C6-4F88-AFFD-219DDF36D078}" type="sibTrans" cxnId="{E166F0C1-5C3D-497E-BB4D-C55BE724261C}">
      <dgm:prSet/>
      <dgm:spPr/>
      <dgm:t>
        <a:bodyPr/>
        <a:lstStyle/>
        <a:p>
          <a:endParaRPr lang="fr-FR"/>
        </a:p>
      </dgm:t>
    </dgm:pt>
    <dgm:pt modelId="{303D40EB-D0D0-402B-A528-3E6D739648B0}">
      <dgm:prSet phldrT="[Texte]" custT="1"/>
      <dgm:spPr/>
      <dgm:t>
        <a:bodyPr/>
        <a:lstStyle/>
        <a:p>
          <a:r>
            <a:rPr lang="fr-FR" sz="2000" dirty="0">
              <a:latin typeface="Trebuchet MS" panose="020B0603020202020204" pitchFamily="34" charset="0"/>
            </a:rPr>
            <a:t>1</a:t>
          </a:r>
          <a:r>
            <a:rPr lang="fr-FR" sz="2000" baseline="30000" dirty="0">
              <a:latin typeface="Trebuchet MS" panose="020B0603020202020204" pitchFamily="34" charset="0"/>
            </a:rPr>
            <a:t>ères</a:t>
          </a:r>
          <a:r>
            <a:rPr lang="fr-FR" sz="2000" dirty="0">
              <a:latin typeface="Trebuchet MS" panose="020B0603020202020204" pitchFamily="34" charset="0"/>
            </a:rPr>
            <a:t> séances de travail du COPIL/COPRO</a:t>
          </a:r>
        </a:p>
      </dgm:t>
    </dgm:pt>
    <dgm:pt modelId="{212BC26D-E4A8-446D-8257-44F937CF9F79}" type="parTrans" cxnId="{0ABD7F5A-D582-40D9-8CCA-9F9ACCBA8A83}">
      <dgm:prSet/>
      <dgm:spPr/>
      <dgm:t>
        <a:bodyPr/>
        <a:lstStyle/>
        <a:p>
          <a:endParaRPr lang="fr-FR"/>
        </a:p>
      </dgm:t>
    </dgm:pt>
    <dgm:pt modelId="{2CE722B2-9B79-4414-9816-DCA8CAD5AEA0}" type="sibTrans" cxnId="{0ABD7F5A-D582-40D9-8CCA-9F9ACCBA8A83}">
      <dgm:prSet/>
      <dgm:spPr/>
      <dgm:t>
        <a:bodyPr/>
        <a:lstStyle/>
        <a:p>
          <a:endParaRPr lang="fr-FR"/>
        </a:p>
      </dgm:t>
    </dgm:pt>
    <dgm:pt modelId="{749FB06F-FBBF-4BEE-B26F-A0F52F9A577A}">
      <dgm:prSet phldrT="[Texte]" custT="1"/>
      <dgm:spPr>
        <a:solidFill>
          <a:srgbClr val="12466B">
            <a:alpha val="54902"/>
          </a:srgbClr>
        </a:solidFill>
      </dgm:spPr>
      <dgm:t>
        <a:bodyPr/>
        <a:lstStyle/>
        <a:p>
          <a:r>
            <a:rPr lang="fr-FR" sz="1200" b="1" dirty="0">
              <a:solidFill>
                <a:srgbClr val="12466B"/>
              </a:solidFill>
              <a:latin typeface="Trebuchet MS" panose="020B0603020202020204" pitchFamily="34" charset="0"/>
            </a:rPr>
            <a:t>Février</a:t>
          </a:r>
        </a:p>
      </dgm:t>
    </dgm:pt>
    <dgm:pt modelId="{0EEB1CA1-9EC6-4033-8E20-0BBFB81EA0F8}" type="parTrans" cxnId="{FD151BE6-EFC5-4AF8-964A-C8A28ACB14B2}">
      <dgm:prSet/>
      <dgm:spPr/>
      <dgm:t>
        <a:bodyPr/>
        <a:lstStyle/>
        <a:p>
          <a:endParaRPr lang="fr-FR"/>
        </a:p>
      </dgm:t>
    </dgm:pt>
    <dgm:pt modelId="{07641721-3AAF-4540-81AF-E5BFB66551F9}" type="sibTrans" cxnId="{FD151BE6-EFC5-4AF8-964A-C8A28ACB14B2}">
      <dgm:prSet/>
      <dgm:spPr/>
      <dgm:t>
        <a:bodyPr/>
        <a:lstStyle/>
        <a:p>
          <a:endParaRPr lang="fr-FR"/>
        </a:p>
      </dgm:t>
    </dgm:pt>
    <dgm:pt modelId="{C66B5E43-C46A-4E92-9D57-E23E6B838FA7}">
      <dgm:prSet custT="1"/>
      <dgm:spPr/>
      <dgm:t>
        <a:bodyPr/>
        <a:lstStyle/>
        <a:p>
          <a:r>
            <a:rPr lang="fr-FR" sz="2000" dirty="0"/>
            <a:t>Choix du RSS par les communes du district pour remplir la mission Défense Incendie dans le district (14</a:t>
          </a:r>
          <a:r>
            <a:rPr lang="fr-FR" sz="2000" baseline="30000" dirty="0"/>
            <a:t>ème</a:t>
          </a:r>
          <a:r>
            <a:rPr lang="fr-FR" sz="2000" dirty="0"/>
            <a:t> séance </a:t>
          </a:r>
          <a:r>
            <a:rPr lang="fr-FR" sz="2000" dirty="0" smtClean="0"/>
            <a:t>de la </a:t>
          </a:r>
          <a:r>
            <a:rPr lang="fr-FR" sz="2000" dirty="0"/>
            <a:t>CRID)</a:t>
          </a:r>
        </a:p>
      </dgm:t>
    </dgm:pt>
    <dgm:pt modelId="{A74D604D-1403-43E5-925E-AB9FFAC465E9}" type="parTrans" cxnId="{E69A9203-D5F1-40FB-AD4F-C4069CCC3358}">
      <dgm:prSet/>
      <dgm:spPr/>
      <dgm:t>
        <a:bodyPr/>
        <a:lstStyle/>
        <a:p>
          <a:endParaRPr lang="fr-FR"/>
        </a:p>
      </dgm:t>
    </dgm:pt>
    <dgm:pt modelId="{6D9A4746-C83E-4701-AD85-11A87C150471}" type="sibTrans" cxnId="{E69A9203-D5F1-40FB-AD4F-C4069CCC3358}">
      <dgm:prSet/>
      <dgm:spPr/>
      <dgm:t>
        <a:bodyPr/>
        <a:lstStyle/>
        <a:p>
          <a:endParaRPr lang="fr-FR"/>
        </a:p>
      </dgm:t>
    </dgm:pt>
    <dgm:pt modelId="{FF8BB509-70F0-4C5F-9875-E94E0BB23D10}" type="pres">
      <dgm:prSet presAssocID="{9B751603-CECA-4995-95EC-2F4CEA2C1FFC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CB589DE3-672B-4A40-8ED2-007998853BCE}" type="pres">
      <dgm:prSet presAssocID="{29CBFC0E-EAD3-47B9-88AA-956EF537DA39}" presName="composite" presStyleCnt="0"/>
      <dgm:spPr/>
    </dgm:pt>
    <dgm:pt modelId="{2A153EA3-D7EA-4D55-822C-827029C85DBE}" type="pres">
      <dgm:prSet presAssocID="{29CBFC0E-EAD3-47B9-88AA-956EF537DA39}" presName="parentText" presStyleLbl="align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40FA338-69A4-44A6-A841-458EC5369DE6}" type="pres">
      <dgm:prSet presAssocID="{29CBFC0E-EAD3-47B9-88AA-956EF537DA39}" presName="descendantText" presStyleLbl="alignAcc1" presStyleIdx="0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B231A65-3D80-48D1-892B-5ED66D778F5D}" type="pres">
      <dgm:prSet presAssocID="{4948DB16-95BA-4DE1-B6FD-6FE8425C6291}" presName="sp" presStyleCnt="0"/>
      <dgm:spPr/>
    </dgm:pt>
    <dgm:pt modelId="{541F69F1-3B99-43B6-B6DC-78CF03682007}" type="pres">
      <dgm:prSet presAssocID="{749FB06F-FBBF-4BEE-B26F-A0F52F9A577A}" presName="composite" presStyleCnt="0"/>
      <dgm:spPr/>
    </dgm:pt>
    <dgm:pt modelId="{58561877-9422-483F-8D6C-FBF57856D2D6}" type="pres">
      <dgm:prSet presAssocID="{749FB06F-FBBF-4BEE-B26F-A0F52F9A577A}" presName="parentText" presStyleLbl="align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99B4FD6-F6BE-423F-91F3-E3F42ECF0B17}" type="pres">
      <dgm:prSet presAssocID="{749FB06F-FBBF-4BEE-B26F-A0F52F9A577A}" presName="descendantText" presStyleLbl="alignAcc1" presStyleIdx="1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582AE18-4800-4AE9-95A5-5475942E2B17}" type="pres">
      <dgm:prSet presAssocID="{07641721-3AAF-4540-81AF-E5BFB66551F9}" presName="sp" presStyleCnt="0"/>
      <dgm:spPr/>
    </dgm:pt>
    <dgm:pt modelId="{8C62CBA0-1ECB-4A80-B9FE-F2DD2D3DC262}" type="pres">
      <dgm:prSet presAssocID="{EE4B11D4-3DBC-471D-B0CF-C09055352364}" presName="composite" presStyleCnt="0"/>
      <dgm:spPr/>
    </dgm:pt>
    <dgm:pt modelId="{8DBB4242-42A0-44F9-B33A-F05C72CB589A}" type="pres">
      <dgm:prSet presAssocID="{EE4B11D4-3DBC-471D-B0CF-C09055352364}" presName="parentText" presStyleLbl="alignNode1" presStyleIdx="2" presStyleCnt="6" custLinFactNeighborY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2E456FC-345F-432A-8A78-4678BBA60BE5}" type="pres">
      <dgm:prSet presAssocID="{EE4B11D4-3DBC-471D-B0CF-C09055352364}" presName="descendantText" presStyleLbl="alignAcc1" presStyleIdx="2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8979E95-8BB2-4673-ABBE-844CBA320783}" type="pres">
      <dgm:prSet presAssocID="{9270D77C-3CD7-4B98-9687-006A15CC8D2C}" presName="sp" presStyleCnt="0"/>
      <dgm:spPr/>
    </dgm:pt>
    <dgm:pt modelId="{539B2EDC-030E-4D40-B1B3-99347E06FE27}" type="pres">
      <dgm:prSet presAssocID="{E2FE1E4C-6891-4E0B-8CA6-851D544912DF}" presName="composite" presStyleCnt="0"/>
      <dgm:spPr/>
    </dgm:pt>
    <dgm:pt modelId="{198A49EA-6892-4999-939B-87B4BAC29DDC}" type="pres">
      <dgm:prSet presAssocID="{E2FE1E4C-6891-4E0B-8CA6-851D544912DF}" presName="parentText" presStyleLbl="align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DD63BA9-2A84-4F27-9469-5C6D05EC6560}" type="pres">
      <dgm:prSet presAssocID="{E2FE1E4C-6891-4E0B-8CA6-851D544912DF}" presName="descendantText" presStyleLbl="alignAcc1" presStyleIdx="3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0312331-FB94-4AF3-8C5D-BFF7A00B7B36}" type="pres">
      <dgm:prSet presAssocID="{31E42903-78D2-41D9-8F5B-EDA496869282}" presName="sp" presStyleCnt="0"/>
      <dgm:spPr/>
    </dgm:pt>
    <dgm:pt modelId="{4ED213D3-1458-4E49-84B5-9A8431BF3A8A}" type="pres">
      <dgm:prSet presAssocID="{80C7DDB8-4922-4C8E-A85E-A02F6A38AB18}" presName="composite" presStyleCnt="0"/>
      <dgm:spPr/>
    </dgm:pt>
    <dgm:pt modelId="{02891F74-EF2D-41FE-88CB-63F17B13F9F9}" type="pres">
      <dgm:prSet presAssocID="{80C7DDB8-4922-4C8E-A85E-A02F6A38AB18}" presName="parentText" presStyleLbl="align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4FDB634-F539-4DDC-A39F-6A741F6943A6}" type="pres">
      <dgm:prSet presAssocID="{80C7DDB8-4922-4C8E-A85E-A02F6A38AB18}" presName="descendantText" presStyleLbl="alignAcc1" presStyleIdx="4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9134F94-E639-48C6-9D65-440C7B159078}" type="pres">
      <dgm:prSet presAssocID="{001DEAB1-ECE7-4147-9B0E-FD2A8F47B19F}" presName="sp" presStyleCnt="0"/>
      <dgm:spPr/>
    </dgm:pt>
    <dgm:pt modelId="{F86F2CA8-BA91-4A4E-85A2-F9E3C51642A2}" type="pres">
      <dgm:prSet presAssocID="{DDFC71ED-F840-414E-B4E2-881E538CA375}" presName="composite" presStyleCnt="0"/>
      <dgm:spPr/>
    </dgm:pt>
    <dgm:pt modelId="{9F430A30-C5FA-4611-B349-D347691F0446}" type="pres">
      <dgm:prSet presAssocID="{DDFC71ED-F840-414E-B4E2-881E538CA375}" presName="parentText" presStyleLbl="align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C4BDBF1-D4D9-4782-85DF-BBE366993CD1}" type="pres">
      <dgm:prSet presAssocID="{DDFC71ED-F840-414E-B4E2-881E538CA375}" presName="descendantText" presStyleLbl="alignAcc1" presStyleIdx="5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90C6519-DA5D-44F0-95A0-7EE61FE95CA7}" type="presOf" srcId="{C66B5E43-C46A-4E92-9D57-E23E6B838FA7}" destId="{299B4FD6-F6BE-423F-91F3-E3F42ECF0B17}" srcOrd="0" destOrd="0" presId="urn:microsoft.com/office/officeart/2005/8/layout/chevron2"/>
    <dgm:cxn modelId="{9CDA1150-E673-4D1F-908F-D4B312F852AE}" type="presOf" srcId="{EE4B11D4-3DBC-471D-B0CF-C09055352364}" destId="{8DBB4242-42A0-44F9-B33A-F05C72CB589A}" srcOrd="0" destOrd="0" presId="urn:microsoft.com/office/officeart/2005/8/layout/chevron2"/>
    <dgm:cxn modelId="{FD151BE6-EFC5-4AF8-964A-C8A28ACB14B2}" srcId="{9B751603-CECA-4995-95EC-2F4CEA2C1FFC}" destId="{749FB06F-FBBF-4BEE-B26F-A0F52F9A577A}" srcOrd="1" destOrd="0" parTransId="{0EEB1CA1-9EC6-4033-8E20-0BBFB81EA0F8}" sibTransId="{07641721-3AAF-4540-81AF-E5BFB66551F9}"/>
    <dgm:cxn modelId="{3ED2D49F-574F-4B9A-9204-75E9C0DF3ED4}" type="presOf" srcId="{303D40EB-D0D0-402B-A528-3E6D739648B0}" destId="{74FDB634-F539-4DDC-A39F-6A741F6943A6}" srcOrd="0" destOrd="1" presId="urn:microsoft.com/office/officeart/2005/8/layout/chevron2"/>
    <dgm:cxn modelId="{E166F0C1-5C3D-497E-BB4D-C55BE724261C}" srcId="{DDFC71ED-F840-414E-B4E2-881E538CA375}" destId="{55583437-5306-4F31-98A2-36F514CD4E7A}" srcOrd="1" destOrd="0" parTransId="{E2AE1784-9053-47D6-BDC1-24A861F23397}" sibTransId="{A3034B87-E4C6-4F88-AFFD-219DDF36D078}"/>
    <dgm:cxn modelId="{F60DAF7E-2A26-4880-BFB5-0A19366BC898}" type="presOf" srcId="{D35496E3-47DE-45E9-98D2-59FD137856F0}" destId="{72E456FC-345F-432A-8A78-4678BBA60BE5}" srcOrd="0" destOrd="0" presId="urn:microsoft.com/office/officeart/2005/8/layout/chevron2"/>
    <dgm:cxn modelId="{0ABD7F5A-D582-40D9-8CCA-9F9ACCBA8A83}" srcId="{80C7DDB8-4922-4C8E-A85E-A02F6A38AB18}" destId="{303D40EB-D0D0-402B-A528-3E6D739648B0}" srcOrd="1" destOrd="0" parTransId="{212BC26D-E4A8-446D-8257-44F937CF9F79}" sibTransId="{2CE722B2-9B79-4414-9816-DCA8CAD5AEA0}"/>
    <dgm:cxn modelId="{5A078FD2-4ADD-4915-A4EE-FDCACCB4718B}" type="presOf" srcId="{29CBFC0E-EAD3-47B9-88AA-956EF537DA39}" destId="{2A153EA3-D7EA-4D55-822C-827029C85DBE}" srcOrd="0" destOrd="0" presId="urn:microsoft.com/office/officeart/2005/8/layout/chevron2"/>
    <dgm:cxn modelId="{4B0CB812-8085-47A0-B531-A8816B52DD89}" srcId="{9B751603-CECA-4995-95EC-2F4CEA2C1FFC}" destId="{80C7DDB8-4922-4C8E-A85E-A02F6A38AB18}" srcOrd="4" destOrd="0" parTransId="{FA7E7E4B-6555-4600-8F36-632D8EF1195F}" sibTransId="{001DEAB1-ECE7-4147-9B0E-FD2A8F47B19F}"/>
    <dgm:cxn modelId="{867E1545-95F3-40B0-A4A0-D6BC0710EB1E}" srcId="{9B751603-CECA-4995-95EC-2F4CEA2C1FFC}" destId="{29CBFC0E-EAD3-47B9-88AA-956EF537DA39}" srcOrd="0" destOrd="0" parTransId="{C46BF69D-1429-424A-8381-830DCBC34CB9}" sibTransId="{4948DB16-95BA-4DE1-B6FD-6FE8425C6291}"/>
    <dgm:cxn modelId="{264E2C25-AF27-402A-BDD4-E858704F3020}" srcId="{DDFC71ED-F840-414E-B4E2-881E538CA375}" destId="{606D7D1A-F617-4F8D-89EA-1D876042D367}" srcOrd="0" destOrd="0" parTransId="{50ACE527-66A4-4AB9-B10C-029F99E06227}" sibTransId="{B532FD9A-8482-4798-AE7D-8E8FE7A0EBB1}"/>
    <dgm:cxn modelId="{160B5B8F-F703-42C5-B772-85688E522955}" type="presOf" srcId="{DDFC71ED-F840-414E-B4E2-881E538CA375}" destId="{9F430A30-C5FA-4611-B349-D347691F0446}" srcOrd="0" destOrd="0" presId="urn:microsoft.com/office/officeart/2005/8/layout/chevron2"/>
    <dgm:cxn modelId="{BE4A4491-D8E6-429D-8E5B-6491656A867C}" srcId="{E2FE1E4C-6891-4E0B-8CA6-851D544912DF}" destId="{7AD1F696-DF14-4AC4-A021-EF288F4656FD}" srcOrd="1" destOrd="0" parTransId="{1240B152-66D5-45C4-9AE0-13EB80DB7A61}" sibTransId="{49AE9EDB-549A-40EF-A170-416725AC8067}"/>
    <dgm:cxn modelId="{3ACB65F6-F8D6-44B6-9236-30CDB827D3ED}" type="presOf" srcId="{55583437-5306-4F31-98A2-36F514CD4E7A}" destId="{3C4BDBF1-D4D9-4782-85DF-BBE366993CD1}" srcOrd="0" destOrd="1" presId="urn:microsoft.com/office/officeart/2005/8/layout/chevron2"/>
    <dgm:cxn modelId="{238C4C05-5EE8-47E8-8D2D-628EE338CE5C}" srcId="{9B751603-CECA-4995-95EC-2F4CEA2C1FFC}" destId="{DDFC71ED-F840-414E-B4E2-881E538CA375}" srcOrd="5" destOrd="0" parTransId="{6FE4F540-9460-4DF8-B7A6-ADFDE0418318}" sibTransId="{8FE67CA9-E085-483E-B573-DC6C1236B397}"/>
    <dgm:cxn modelId="{B3C4A9C4-9828-42F3-AF39-3D13A701D445}" type="presOf" srcId="{9B751603-CECA-4995-95EC-2F4CEA2C1FFC}" destId="{FF8BB509-70F0-4C5F-9875-E94E0BB23D10}" srcOrd="0" destOrd="0" presId="urn:microsoft.com/office/officeart/2005/8/layout/chevron2"/>
    <dgm:cxn modelId="{090BF3BD-2B44-44BF-B9DD-009337794C4E}" type="presOf" srcId="{80C7DDB8-4922-4C8E-A85E-A02F6A38AB18}" destId="{02891F74-EF2D-41FE-88CB-63F17B13F9F9}" srcOrd="0" destOrd="0" presId="urn:microsoft.com/office/officeart/2005/8/layout/chevron2"/>
    <dgm:cxn modelId="{B019FCE4-8725-44AD-9A04-23033CC22708}" type="presOf" srcId="{749FB06F-FBBF-4BEE-B26F-A0F52F9A577A}" destId="{58561877-9422-483F-8D6C-FBF57856D2D6}" srcOrd="0" destOrd="0" presId="urn:microsoft.com/office/officeart/2005/8/layout/chevron2"/>
    <dgm:cxn modelId="{9328294C-07C8-4BAA-98A3-EA2CF549813D}" type="presOf" srcId="{606D7D1A-F617-4F8D-89EA-1D876042D367}" destId="{3C4BDBF1-D4D9-4782-85DF-BBE366993CD1}" srcOrd="0" destOrd="0" presId="urn:microsoft.com/office/officeart/2005/8/layout/chevron2"/>
    <dgm:cxn modelId="{C3F4EBC4-C266-4102-99D3-9164539B3C64}" type="presOf" srcId="{DDAD0FA0-200A-48AF-AE0C-B03C953CDEF0}" destId="{FDD63BA9-2A84-4F27-9469-5C6D05EC6560}" srcOrd="0" destOrd="0" presId="urn:microsoft.com/office/officeart/2005/8/layout/chevron2"/>
    <dgm:cxn modelId="{1D59D24B-F097-417C-A299-82143D0C523C}" srcId="{9B751603-CECA-4995-95EC-2F4CEA2C1FFC}" destId="{E2FE1E4C-6891-4E0B-8CA6-851D544912DF}" srcOrd="3" destOrd="0" parTransId="{14408B3A-3B26-4571-A45B-49127B3C6B1A}" sibTransId="{31E42903-78D2-41D9-8F5B-EDA496869282}"/>
    <dgm:cxn modelId="{D7ACB59A-B0AB-41F8-97D0-C900EC414FBD}" srcId="{29CBFC0E-EAD3-47B9-88AA-956EF537DA39}" destId="{95CD2603-64B8-4FF2-9334-2ECD3E3113CB}" srcOrd="0" destOrd="0" parTransId="{8A7C8358-6514-49BF-8B15-2B685056FDCB}" sibTransId="{5D160183-DE5A-4086-A4AE-62F98712D8C3}"/>
    <dgm:cxn modelId="{B5B8FD83-74AC-496F-BEB3-C01C4217E22A}" type="presOf" srcId="{1AB31335-3BD2-4BE4-9CDD-22959669F114}" destId="{74FDB634-F539-4DDC-A39F-6A741F6943A6}" srcOrd="0" destOrd="0" presId="urn:microsoft.com/office/officeart/2005/8/layout/chevron2"/>
    <dgm:cxn modelId="{80FC54BE-A7B5-465A-95FB-F54320C808D4}" type="presOf" srcId="{E2FE1E4C-6891-4E0B-8CA6-851D544912DF}" destId="{198A49EA-6892-4999-939B-87B4BAC29DDC}" srcOrd="0" destOrd="0" presId="urn:microsoft.com/office/officeart/2005/8/layout/chevron2"/>
    <dgm:cxn modelId="{6EAEFF0E-B2DF-4BD2-B7B5-0B2F93EAC014}" srcId="{EE4B11D4-3DBC-471D-B0CF-C09055352364}" destId="{D35496E3-47DE-45E9-98D2-59FD137856F0}" srcOrd="0" destOrd="0" parTransId="{1AF2FF46-152A-4F4C-A9BE-ACF7704E1645}" sibTransId="{6387503A-C409-4B5E-A224-0A790A284507}"/>
    <dgm:cxn modelId="{8D55D92F-833A-4DE6-9F1F-3D78A3FEAB2B}" srcId="{E2FE1E4C-6891-4E0B-8CA6-851D544912DF}" destId="{DDAD0FA0-200A-48AF-AE0C-B03C953CDEF0}" srcOrd="0" destOrd="0" parTransId="{2E7B5213-25EA-4E01-B451-0A0B3DD8ABAB}" sibTransId="{9F50F7C2-9620-4C52-9072-B3146757AE70}"/>
    <dgm:cxn modelId="{E69A9203-D5F1-40FB-AD4F-C4069CCC3358}" srcId="{749FB06F-FBBF-4BEE-B26F-A0F52F9A577A}" destId="{C66B5E43-C46A-4E92-9D57-E23E6B838FA7}" srcOrd="0" destOrd="0" parTransId="{A74D604D-1403-43E5-925E-AB9FFAC465E9}" sibTransId="{6D9A4746-C83E-4701-AD85-11A87C150471}"/>
    <dgm:cxn modelId="{48F083B7-6C08-4BDD-B18A-A9BD33635572}" type="presOf" srcId="{7AD1F696-DF14-4AC4-A021-EF288F4656FD}" destId="{FDD63BA9-2A84-4F27-9469-5C6D05EC6560}" srcOrd="0" destOrd="1" presId="urn:microsoft.com/office/officeart/2005/8/layout/chevron2"/>
    <dgm:cxn modelId="{63B7541C-4ABC-47FF-8907-6C8854BD2991}" type="presOf" srcId="{95CD2603-64B8-4FF2-9334-2ECD3E3113CB}" destId="{B40FA338-69A4-44A6-A841-458EC5369DE6}" srcOrd="0" destOrd="0" presId="urn:microsoft.com/office/officeart/2005/8/layout/chevron2"/>
    <dgm:cxn modelId="{7629BAE0-5DDB-413D-BDA3-3AB3AC7DBDE5}" srcId="{80C7DDB8-4922-4C8E-A85E-A02F6A38AB18}" destId="{1AB31335-3BD2-4BE4-9CDD-22959669F114}" srcOrd="0" destOrd="0" parTransId="{E29957F5-FD9B-4F18-B0AF-EE7AE88E3494}" sibTransId="{B86E0252-A759-42E0-BE9C-E615BE136933}"/>
    <dgm:cxn modelId="{9CE1C07A-30AC-4CAA-826C-07F7D4F32F0C}" srcId="{9B751603-CECA-4995-95EC-2F4CEA2C1FFC}" destId="{EE4B11D4-3DBC-471D-B0CF-C09055352364}" srcOrd="2" destOrd="0" parTransId="{626FA825-0C30-4635-9EF4-A4F65C66EA7C}" sibTransId="{9270D77C-3CD7-4B98-9687-006A15CC8D2C}"/>
    <dgm:cxn modelId="{F5B07807-4295-40E9-93B6-D5C9A4750E82}" type="presParOf" srcId="{FF8BB509-70F0-4C5F-9875-E94E0BB23D10}" destId="{CB589DE3-672B-4A40-8ED2-007998853BCE}" srcOrd="0" destOrd="0" presId="urn:microsoft.com/office/officeart/2005/8/layout/chevron2"/>
    <dgm:cxn modelId="{1EFD52AE-C680-49B7-BB85-04A49FF5032B}" type="presParOf" srcId="{CB589DE3-672B-4A40-8ED2-007998853BCE}" destId="{2A153EA3-D7EA-4D55-822C-827029C85DBE}" srcOrd="0" destOrd="0" presId="urn:microsoft.com/office/officeart/2005/8/layout/chevron2"/>
    <dgm:cxn modelId="{E69751EE-75B4-4439-BB89-895E6D7ADC39}" type="presParOf" srcId="{CB589DE3-672B-4A40-8ED2-007998853BCE}" destId="{B40FA338-69A4-44A6-A841-458EC5369DE6}" srcOrd="1" destOrd="0" presId="urn:microsoft.com/office/officeart/2005/8/layout/chevron2"/>
    <dgm:cxn modelId="{2148D1FE-0A34-4287-92DB-EF43D8830318}" type="presParOf" srcId="{FF8BB509-70F0-4C5F-9875-E94E0BB23D10}" destId="{DB231A65-3D80-48D1-892B-5ED66D778F5D}" srcOrd="1" destOrd="0" presId="urn:microsoft.com/office/officeart/2005/8/layout/chevron2"/>
    <dgm:cxn modelId="{7C74A844-E0A3-4672-8567-946134718556}" type="presParOf" srcId="{FF8BB509-70F0-4C5F-9875-E94E0BB23D10}" destId="{541F69F1-3B99-43B6-B6DC-78CF03682007}" srcOrd="2" destOrd="0" presId="urn:microsoft.com/office/officeart/2005/8/layout/chevron2"/>
    <dgm:cxn modelId="{F32FD0B2-DC8F-40D9-85D4-F5E1E72F5A2A}" type="presParOf" srcId="{541F69F1-3B99-43B6-B6DC-78CF03682007}" destId="{58561877-9422-483F-8D6C-FBF57856D2D6}" srcOrd="0" destOrd="0" presId="urn:microsoft.com/office/officeart/2005/8/layout/chevron2"/>
    <dgm:cxn modelId="{4EE74B59-6A54-4744-AB8E-906819BB83F0}" type="presParOf" srcId="{541F69F1-3B99-43B6-B6DC-78CF03682007}" destId="{299B4FD6-F6BE-423F-91F3-E3F42ECF0B17}" srcOrd="1" destOrd="0" presId="urn:microsoft.com/office/officeart/2005/8/layout/chevron2"/>
    <dgm:cxn modelId="{292460BE-74EC-4032-AEC4-085013F1EC75}" type="presParOf" srcId="{FF8BB509-70F0-4C5F-9875-E94E0BB23D10}" destId="{F582AE18-4800-4AE9-95A5-5475942E2B17}" srcOrd="3" destOrd="0" presId="urn:microsoft.com/office/officeart/2005/8/layout/chevron2"/>
    <dgm:cxn modelId="{8DA788CB-F147-4747-852A-FA7C2D5211C5}" type="presParOf" srcId="{FF8BB509-70F0-4C5F-9875-E94E0BB23D10}" destId="{8C62CBA0-1ECB-4A80-B9FE-F2DD2D3DC262}" srcOrd="4" destOrd="0" presId="urn:microsoft.com/office/officeart/2005/8/layout/chevron2"/>
    <dgm:cxn modelId="{9BC77B4E-6BC3-429E-A4AB-5263352D2C5F}" type="presParOf" srcId="{8C62CBA0-1ECB-4A80-B9FE-F2DD2D3DC262}" destId="{8DBB4242-42A0-44F9-B33A-F05C72CB589A}" srcOrd="0" destOrd="0" presId="urn:microsoft.com/office/officeart/2005/8/layout/chevron2"/>
    <dgm:cxn modelId="{E21037C0-04FC-4129-951C-C92149E4D341}" type="presParOf" srcId="{8C62CBA0-1ECB-4A80-B9FE-F2DD2D3DC262}" destId="{72E456FC-345F-432A-8A78-4678BBA60BE5}" srcOrd="1" destOrd="0" presId="urn:microsoft.com/office/officeart/2005/8/layout/chevron2"/>
    <dgm:cxn modelId="{4F43BA6B-9C52-4233-B375-1FA1A4FC5CCE}" type="presParOf" srcId="{FF8BB509-70F0-4C5F-9875-E94E0BB23D10}" destId="{F8979E95-8BB2-4673-ABBE-844CBA320783}" srcOrd="5" destOrd="0" presId="urn:microsoft.com/office/officeart/2005/8/layout/chevron2"/>
    <dgm:cxn modelId="{78870C1A-D47D-4AD2-A259-4ECAFA8F492F}" type="presParOf" srcId="{FF8BB509-70F0-4C5F-9875-E94E0BB23D10}" destId="{539B2EDC-030E-4D40-B1B3-99347E06FE27}" srcOrd="6" destOrd="0" presId="urn:microsoft.com/office/officeart/2005/8/layout/chevron2"/>
    <dgm:cxn modelId="{7ED9BE58-EFCF-4EC1-BADE-752AD54A8798}" type="presParOf" srcId="{539B2EDC-030E-4D40-B1B3-99347E06FE27}" destId="{198A49EA-6892-4999-939B-87B4BAC29DDC}" srcOrd="0" destOrd="0" presId="urn:microsoft.com/office/officeart/2005/8/layout/chevron2"/>
    <dgm:cxn modelId="{97D7FFC9-4CB7-47F7-B2D8-47644BB112D6}" type="presParOf" srcId="{539B2EDC-030E-4D40-B1B3-99347E06FE27}" destId="{FDD63BA9-2A84-4F27-9469-5C6D05EC6560}" srcOrd="1" destOrd="0" presId="urn:microsoft.com/office/officeart/2005/8/layout/chevron2"/>
    <dgm:cxn modelId="{D4079109-03F1-437C-861C-BECD40D3482A}" type="presParOf" srcId="{FF8BB509-70F0-4C5F-9875-E94E0BB23D10}" destId="{70312331-FB94-4AF3-8C5D-BFF7A00B7B36}" srcOrd="7" destOrd="0" presId="urn:microsoft.com/office/officeart/2005/8/layout/chevron2"/>
    <dgm:cxn modelId="{6C31382F-CB08-4B7F-A2FD-4916035B11FE}" type="presParOf" srcId="{FF8BB509-70F0-4C5F-9875-E94E0BB23D10}" destId="{4ED213D3-1458-4E49-84B5-9A8431BF3A8A}" srcOrd="8" destOrd="0" presId="urn:microsoft.com/office/officeart/2005/8/layout/chevron2"/>
    <dgm:cxn modelId="{2E9291A0-ACD6-4E44-A2D9-FF93B4B71782}" type="presParOf" srcId="{4ED213D3-1458-4E49-84B5-9A8431BF3A8A}" destId="{02891F74-EF2D-41FE-88CB-63F17B13F9F9}" srcOrd="0" destOrd="0" presId="urn:microsoft.com/office/officeart/2005/8/layout/chevron2"/>
    <dgm:cxn modelId="{8C79930C-6635-4D29-8476-899D868887B7}" type="presParOf" srcId="{4ED213D3-1458-4E49-84B5-9A8431BF3A8A}" destId="{74FDB634-F539-4DDC-A39F-6A741F6943A6}" srcOrd="1" destOrd="0" presId="urn:microsoft.com/office/officeart/2005/8/layout/chevron2"/>
    <dgm:cxn modelId="{596220E3-04C8-455B-8431-E8F3AC878B98}" type="presParOf" srcId="{FF8BB509-70F0-4C5F-9875-E94E0BB23D10}" destId="{89134F94-E639-48C6-9D65-440C7B159078}" srcOrd="9" destOrd="0" presId="urn:microsoft.com/office/officeart/2005/8/layout/chevron2"/>
    <dgm:cxn modelId="{85609CA2-DC58-49F7-ADF3-F44E6F0D7531}" type="presParOf" srcId="{FF8BB509-70F0-4C5F-9875-E94E0BB23D10}" destId="{F86F2CA8-BA91-4A4E-85A2-F9E3C51642A2}" srcOrd="10" destOrd="0" presId="urn:microsoft.com/office/officeart/2005/8/layout/chevron2"/>
    <dgm:cxn modelId="{B63D1002-7C6C-4992-A252-DB524C3694AC}" type="presParOf" srcId="{F86F2CA8-BA91-4A4E-85A2-F9E3C51642A2}" destId="{9F430A30-C5FA-4611-B349-D347691F0446}" srcOrd="0" destOrd="0" presId="urn:microsoft.com/office/officeart/2005/8/layout/chevron2"/>
    <dgm:cxn modelId="{CB41EC37-08E8-440F-9821-E4763BCB769C}" type="presParOf" srcId="{F86F2CA8-BA91-4A4E-85A2-F9E3C51642A2}" destId="{3C4BDBF1-D4D9-4782-85DF-BBE366993CD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B751603-CECA-4995-95EC-2F4CEA2C1FFC}" type="doc">
      <dgm:prSet loTypeId="urn:microsoft.com/office/officeart/2005/8/layout/chevron2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fr-FR"/>
        </a:p>
      </dgm:t>
    </dgm:pt>
    <dgm:pt modelId="{EE4B11D4-3DBC-471D-B0CF-C09055352364}">
      <dgm:prSet phldrT="[Texte]" custT="1"/>
      <dgm:spPr>
        <a:solidFill>
          <a:srgbClr val="12466B">
            <a:alpha val="54902"/>
          </a:srgbClr>
        </a:solidFill>
      </dgm:spPr>
      <dgm:t>
        <a:bodyPr/>
        <a:lstStyle/>
        <a:p>
          <a:r>
            <a:rPr lang="fr-FR" sz="1800" b="1" dirty="0" smtClean="0">
              <a:solidFill>
                <a:srgbClr val="12466B"/>
              </a:solidFill>
              <a:latin typeface="Trebuchet MS" panose="020B0603020202020204" pitchFamily="34" charset="0"/>
            </a:rPr>
            <a:t>AVRIL</a:t>
          </a:r>
          <a:endParaRPr lang="fr-FR" sz="1800" b="1" dirty="0">
            <a:solidFill>
              <a:srgbClr val="12466B"/>
            </a:solidFill>
            <a:latin typeface="Trebuchet MS" panose="020B0603020202020204" pitchFamily="34" charset="0"/>
          </a:endParaRPr>
        </a:p>
      </dgm:t>
    </dgm:pt>
    <dgm:pt modelId="{626FA825-0C30-4635-9EF4-A4F65C66EA7C}" type="parTrans" cxnId="{9CE1C07A-30AC-4CAA-826C-07F7D4F32F0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9270D77C-3CD7-4B98-9687-006A15CC8D2C}" type="sibTrans" cxnId="{9CE1C07A-30AC-4CAA-826C-07F7D4F32F0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D35496E3-47DE-45E9-98D2-59FD137856F0}">
      <dgm:prSet phldrT="[Texte]" custT="1"/>
      <dgm:spPr/>
      <dgm:t>
        <a:bodyPr/>
        <a:lstStyle/>
        <a:p>
          <a:r>
            <a:rPr lang="fr-FR" sz="2000" dirty="0" smtClean="0">
              <a:latin typeface="Trebuchet MS" panose="020B0603020202020204" pitchFamily="34" charset="0"/>
            </a:rPr>
            <a:t>Finalisation de la réflexion du financement</a:t>
          </a:r>
          <a:br>
            <a:rPr lang="fr-FR" sz="2000" dirty="0" smtClean="0">
              <a:latin typeface="Trebuchet MS" panose="020B0603020202020204" pitchFamily="34" charset="0"/>
            </a:rPr>
          </a:br>
          <a:r>
            <a:rPr lang="fr-FR" sz="2000" dirty="0" smtClean="0">
              <a:latin typeface="Trebuchet MS" panose="020B0603020202020204" pitchFamily="34" charset="0"/>
            </a:rPr>
            <a:t>Budget V2 faisant suite aux décisions stratégiques du CODIR RSS</a:t>
          </a:r>
          <a:endParaRPr lang="fr-FR" sz="2000" dirty="0">
            <a:latin typeface="Trebuchet MS" panose="020B0603020202020204" pitchFamily="34" charset="0"/>
          </a:endParaRPr>
        </a:p>
      </dgm:t>
    </dgm:pt>
    <dgm:pt modelId="{1AF2FF46-152A-4F4C-A9BE-ACF7704E1645}" type="parTrans" cxnId="{6EAEFF0E-B2DF-4BD2-B7B5-0B2F93EAC014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6387503A-C409-4B5E-A224-0A790A284507}" type="sibTrans" cxnId="{6EAEFF0E-B2DF-4BD2-B7B5-0B2F93EAC014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E2FE1E4C-6891-4E0B-8CA6-851D544912DF}">
      <dgm:prSet phldrT="[Texte]" custT="1"/>
      <dgm:spPr>
        <a:solidFill>
          <a:srgbClr val="12466B">
            <a:alpha val="69804"/>
          </a:srgbClr>
        </a:solidFill>
      </dgm:spPr>
      <dgm:t>
        <a:bodyPr/>
        <a:lstStyle/>
        <a:p>
          <a:r>
            <a:rPr lang="fr-FR" sz="1800" b="1" dirty="0" smtClean="0">
              <a:solidFill>
                <a:schemeClr val="bg1"/>
              </a:solidFill>
              <a:latin typeface="Trebuchet MS" panose="020B0603020202020204" pitchFamily="34" charset="0"/>
            </a:rPr>
            <a:t>MAI</a:t>
          </a:r>
          <a:endParaRPr lang="fr-FR" sz="1800" b="1" dirty="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14408B3A-3B26-4571-A45B-49127B3C6B1A}" type="parTrans" cxnId="{1D59D24B-F097-417C-A299-82143D0C523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31E42903-78D2-41D9-8F5B-EDA496869282}" type="sibTrans" cxnId="{1D59D24B-F097-417C-A299-82143D0C523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80C7DDB8-4922-4C8E-A85E-A02F6A38AB18}">
      <dgm:prSet phldrT="[Texte]" custT="1"/>
      <dgm:spPr>
        <a:solidFill>
          <a:srgbClr val="12466B">
            <a:alpha val="85098"/>
          </a:srgbClr>
        </a:solidFill>
      </dgm:spPr>
      <dgm:t>
        <a:bodyPr/>
        <a:lstStyle/>
        <a:p>
          <a:r>
            <a:rPr lang="fr-FR" sz="1800" b="1" dirty="0" smtClean="0">
              <a:solidFill>
                <a:schemeClr val="bg1"/>
              </a:solidFill>
              <a:latin typeface="Trebuchet MS" panose="020B0603020202020204" pitchFamily="34" charset="0"/>
            </a:rPr>
            <a:t>JUIN</a:t>
          </a:r>
          <a:endParaRPr lang="fr-FR" sz="1800" b="1" dirty="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FA7E7E4B-6555-4600-8F36-632D8EF1195F}" type="parTrans" cxnId="{4B0CB812-8085-47A0-B531-A8816B52DD89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001DEAB1-ECE7-4147-9B0E-FD2A8F47B19F}" type="sibTrans" cxnId="{4B0CB812-8085-47A0-B531-A8816B52DD89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1AB31335-3BD2-4BE4-9CDD-22959669F114}">
      <dgm:prSet phldrT="[Texte]" custT="1"/>
      <dgm:spPr/>
      <dgm:t>
        <a:bodyPr/>
        <a:lstStyle/>
        <a:p>
          <a:r>
            <a:rPr lang="fr-FR" sz="2000" dirty="0" smtClean="0">
              <a:latin typeface="Trebuchet MS" panose="020B0603020202020204" pitchFamily="34" charset="0"/>
            </a:rPr>
            <a:t>Assemblée des déléguées RSS</a:t>
          </a:r>
          <a:br>
            <a:rPr lang="fr-FR" sz="2000" dirty="0" smtClean="0">
              <a:latin typeface="Trebuchet MS" panose="020B0603020202020204" pitchFamily="34" charset="0"/>
            </a:rPr>
          </a:br>
          <a:r>
            <a:rPr lang="fr-FR" sz="2000" dirty="0" smtClean="0">
              <a:latin typeface="Trebuchet MS" panose="020B0603020202020204" pitchFamily="34" charset="0"/>
            </a:rPr>
            <a:t>Vote sur les nouveaux Statuts le 1</a:t>
          </a:r>
          <a:r>
            <a:rPr lang="fr-FR" sz="2000" baseline="30000" dirty="0" smtClean="0">
              <a:latin typeface="Trebuchet MS" panose="020B0603020202020204" pitchFamily="34" charset="0"/>
            </a:rPr>
            <a:t>er</a:t>
          </a:r>
          <a:r>
            <a:rPr lang="fr-FR" sz="2000" dirty="0" smtClean="0">
              <a:latin typeface="Trebuchet MS" panose="020B0603020202020204" pitchFamily="34" charset="0"/>
            </a:rPr>
            <a:t> juin 2022</a:t>
          </a:r>
          <a:endParaRPr lang="fr-FR" sz="2000" dirty="0">
            <a:latin typeface="Trebuchet MS" panose="020B0603020202020204" pitchFamily="34" charset="0"/>
          </a:endParaRPr>
        </a:p>
      </dgm:t>
    </dgm:pt>
    <dgm:pt modelId="{E29957F5-FD9B-4F18-B0AF-EE7AE88E3494}" type="parTrans" cxnId="{7629BAE0-5DDB-413D-BDA3-3AB3AC7DBDE5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B86E0252-A759-42E0-BE9C-E615BE136933}" type="sibTrans" cxnId="{7629BAE0-5DDB-413D-BDA3-3AB3AC7DBDE5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DDAD0FA0-200A-48AF-AE0C-B03C953CDEF0}">
      <dgm:prSet phldrT="[Texte]" custT="1"/>
      <dgm:spPr/>
      <dgm:t>
        <a:bodyPr/>
        <a:lstStyle/>
        <a:p>
          <a:r>
            <a:rPr lang="fr-FR" sz="2000" dirty="0" smtClean="0">
              <a:latin typeface="Trebuchet MS" panose="020B0603020202020204" pitchFamily="34" charset="0"/>
            </a:rPr>
            <a:t>Finalisation des nouveaux statuts du RSS</a:t>
          </a:r>
          <a:br>
            <a:rPr lang="fr-FR" sz="2000" dirty="0" smtClean="0">
              <a:latin typeface="Trebuchet MS" panose="020B0603020202020204" pitchFamily="34" charset="0"/>
            </a:rPr>
          </a:br>
          <a:r>
            <a:rPr lang="fr-FR" sz="2000" dirty="0" smtClean="0">
              <a:latin typeface="Trebuchet MS" panose="020B0603020202020204" pitchFamily="34" charset="0"/>
            </a:rPr>
            <a:t>Nouvelle tâche confiée au RSS</a:t>
          </a:r>
          <a:endParaRPr lang="fr-FR" sz="2000" dirty="0">
            <a:latin typeface="Trebuchet MS" panose="020B0603020202020204" pitchFamily="34" charset="0"/>
          </a:endParaRPr>
        </a:p>
      </dgm:t>
    </dgm:pt>
    <dgm:pt modelId="{2E7B5213-25EA-4E01-B451-0A0B3DD8ABAB}" type="parTrans" cxnId="{8D55D92F-833A-4DE6-9F1F-3D78A3FEAB2B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9F50F7C2-9620-4C52-9072-B3146757AE70}" type="sibTrans" cxnId="{8D55D92F-833A-4DE6-9F1F-3D78A3FEAB2B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95CD2603-64B8-4FF2-9334-2ECD3E3113CB}">
      <dgm:prSet phldrT="[Texte]" custT="1"/>
      <dgm:spPr/>
      <dgm:t>
        <a:bodyPr/>
        <a:lstStyle/>
        <a:p>
          <a:r>
            <a:rPr lang="fr-FR" sz="2000" dirty="0" smtClean="0">
              <a:latin typeface="Trebuchet MS" panose="020B0603020202020204" pitchFamily="34" charset="0"/>
            </a:rPr>
            <a:t>Sondage auprès des 806 sapeurs-pompiers actifs (évaluation des effectifs futurs)</a:t>
          </a:r>
          <a:endParaRPr lang="fr-FR" sz="2000" dirty="0">
            <a:latin typeface="Trebuchet MS" panose="020B0603020202020204" pitchFamily="34" charset="0"/>
          </a:endParaRPr>
        </a:p>
      </dgm:t>
    </dgm:pt>
    <dgm:pt modelId="{5D160183-DE5A-4086-A4AE-62F98712D8C3}" type="sibTrans" cxnId="{D7ACB59A-B0AB-41F8-97D0-C900EC414FBD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8A7C8358-6514-49BF-8B15-2B685056FDCB}" type="parTrans" cxnId="{D7ACB59A-B0AB-41F8-97D0-C900EC414FBD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47CF1051-87C2-4420-8674-5E35ACF0924B}">
      <dgm:prSet phldrT="[Texte]" custT="1"/>
      <dgm:spPr/>
      <dgm:t>
        <a:bodyPr/>
        <a:lstStyle/>
        <a:p>
          <a:r>
            <a:rPr lang="fr-FR" sz="2000" dirty="0" smtClean="0">
              <a:latin typeface="Trebuchet MS" panose="020B0603020202020204" pitchFamily="34" charset="0"/>
            </a:rPr>
            <a:t>Elaboration V1 budget POMPIERS 2023 (Séance de travail CODIR RSS – 31.03.2022)</a:t>
          </a:r>
          <a:endParaRPr lang="fr-FR" sz="2000" dirty="0">
            <a:latin typeface="Trebuchet MS" panose="020B0603020202020204" pitchFamily="34" charset="0"/>
          </a:endParaRPr>
        </a:p>
      </dgm:t>
    </dgm:pt>
    <dgm:pt modelId="{A0C80EF2-F05F-492D-90E6-5A9E1171C15A}" type="sibTrans" cxnId="{F35C71DF-3FAF-43CE-AE4C-465C16004286}">
      <dgm:prSet/>
      <dgm:spPr/>
      <dgm:t>
        <a:bodyPr/>
        <a:lstStyle/>
        <a:p>
          <a:endParaRPr lang="fr-FR"/>
        </a:p>
      </dgm:t>
    </dgm:pt>
    <dgm:pt modelId="{E7BF1BD0-CB58-474A-BCCC-7648C7BE1AB6}" type="parTrans" cxnId="{F35C71DF-3FAF-43CE-AE4C-465C16004286}">
      <dgm:prSet/>
      <dgm:spPr/>
      <dgm:t>
        <a:bodyPr/>
        <a:lstStyle/>
        <a:p>
          <a:endParaRPr lang="fr-FR"/>
        </a:p>
      </dgm:t>
    </dgm:pt>
    <dgm:pt modelId="{29CBFC0E-EAD3-47B9-88AA-956EF537DA39}">
      <dgm:prSet phldrT="[Texte]" custT="1"/>
      <dgm:spPr>
        <a:solidFill>
          <a:srgbClr val="12466B">
            <a:alpha val="40000"/>
          </a:srgbClr>
        </a:solidFill>
      </dgm:spPr>
      <dgm:t>
        <a:bodyPr/>
        <a:lstStyle/>
        <a:p>
          <a:pPr marL="0" indent="0" algn="ctr" defTabSz="985838">
            <a:tabLst/>
          </a:pPr>
          <a:r>
            <a:rPr lang="fr-FR" sz="1800" b="1" dirty="0" smtClean="0">
              <a:solidFill>
                <a:srgbClr val="12466B"/>
              </a:solidFill>
              <a:latin typeface="Trebuchet MS" panose="020B0603020202020204" pitchFamily="34" charset="0"/>
            </a:rPr>
            <a:t>MARS</a:t>
          </a:r>
          <a:endParaRPr lang="fr-FR" sz="1800" b="1" dirty="0">
            <a:solidFill>
              <a:srgbClr val="12466B"/>
            </a:solidFill>
            <a:latin typeface="Trebuchet MS" panose="020B0603020202020204" pitchFamily="34" charset="0"/>
          </a:endParaRPr>
        </a:p>
      </dgm:t>
    </dgm:pt>
    <dgm:pt modelId="{4948DB16-95BA-4DE1-B6FD-6FE8425C6291}" type="sibTrans" cxnId="{867E1545-95F3-40B0-A4A0-D6BC0710EB1E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C46BF69D-1429-424A-8381-830DCBC34CB9}" type="parTrans" cxnId="{867E1545-95F3-40B0-A4A0-D6BC0710EB1E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FF8BB509-70F0-4C5F-9875-E94E0BB23D10}" type="pres">
      <dgm:prSet presAssocID="{9B751603-CECA-4995-95EC-2F4CEA2C1FFC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CB589DE3-672B-4A40-8ED2-007998853BCE}" type="pres">
      <dgm:prSet presAssocID="{29CBFC0E-EAD3-47B9-88AA-956EF537DA39}" presName="composite" presStyleCnt="0"/>
      <dgm:spPr/>
    </dgm:pt>
    <dgm:pt modelId="{2A153EA3-D7EA-4D55-822C-827029C85DBE}" type="pres">
      <dgm:prSet presAssocID="{29CBFC0E-EAD3-47B9-88AA-956EF537DA39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40FA338-69A4-44A6-A841-458EC5369DE6}" type="pres">
      <dgm:prSet presAssocID="{29CBFC0E-EAD3-47B9-88AA-956EF537DA39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B231A65-3D80-48D1-892B-5ED66D778F5D}" type="pres">
      <dgm:prSet presAssocID="{4948DB16-95BA-4DE1-B6FD-6FE8425C6291}" presName="sp" presStyleCnt="0"/>
      <dgm:spPr/>
    </dgm:pt>
    <dgm:pt modelId="{8C62CBA0-1ECB-4A80-B9FE-F2DD2D3DC262}" type="pres">
      <dgm:prSet presAssocID="{EE4B11D4-3DBC-471D-B0CF-C09055352364}" presName="composite" presStyleCnt="0"/>
      <dgm:spPr/>
    </dgm:pt>
    <dgm:pt modelId="{8DBB4242-42A0-44F9-B33A-F05C72CB589A}" type="pres">
      <dgm:prSet presAssocID="{EE4B11D4-3DBC-471D-B0CF-C09055352364}" presName="parentText" presStyleLbl="alignNode1" presStyleIdx="1" presStyleCnt="4" custLinFactNeighborY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2E456FC-345F-432A-8A78-4678BBA60BE5}" type="pres">
      <dgm:prSet presAssocID="{EE4B11D4-3DBC-471D-B0CF-C09055352364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8979E95-8BB2-4673-ABBE-844CBA320783}" type="pres">
      <dgm:prSet presAssocID="{9270D77C-3CD7-4B98-9687-006A15CC8D2C}" presName="sp" presStyleCnt="0"/>
      <dgm:spPr/>
    </dgm:pt>
    <dgm:pt modelId="{539B2EDC-030E-4D40-B1B3-99347E06FE27}" type="pres">
      <dgm:prSet presAssocID="{E2FE1E4C-6891-4E0B-8CA6-851D544912DF}" presName="composite" presStyleCnt="0"/>
      <dgm:spPr/>
    </dgm:pt>
    <dgm:pt modelId="{198A49EA-6892-4999-939B-87B4BAC29DDC}" type="pres">
      <dgm:prSet presAssocID="{E2FE1E4C-6891-4E0B-8CA6-851D544912DF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DD63BA9-2A84-4F27-9469-5C6D05EC6560}" type="pres">
      <dgm:prSet presAssocID="{E2FE1E4C-6891-4E0B-8CA6-851D544912DF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0312331-FB94-4AF3-8C5D-BFF7A00B7B36}" type="pres">
      <dgm:prSet presAssocID="{31E42903-78D2-41D9-8F5B-EDA496869282}" presName="sp" presStyleCnt="0"/>
      <dgm:spPr/>
    </dgm:pt>
    <dgm:pt modelId="{4ED213D3-1458-4E49-84B5-9A8431BF3A8A}" type="pres">
      <dgm:prSet presAssocID="{80C7DDB8-4922-4C8E-A85E-A02F6A38AB18}" presName="composite" presStyleCnt="0"/>
      <dgm:spPr/>
    </dgm:pt>
    <dgm:pt modelId="{02891F74-EF2D-41FE-88CB-63F17B13F9F9}" type="pres">
      <dgm:prSet presAssocID="{80C7DDB8-4922-4C8E-A85E-A02F6A38AB18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4FDB634-F539-4DDC-A39F-6A741F6943A6}" type="pres">
      <dgm:prSet presAssocID="{80C7DDB8-4922-4C8E-A85E-A02F6A38AB18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4B0CB812-8085-47A0-B531-A8816B52DD89}" srcId="{9B751603-CECA-4995-95EC-2F4CEA2C1FFC}" destId="{80C7DDB8-4922-4C8E-A85E-A02F6A38AB18}" srcOrd="3" destOrd="0" parTransId="{FA7E7E4B-6555-4600-8F36-632D8EF1195F}" sibTransId="{001DEAB1-ECE7-4147-9B0E-FD2A8F47B19F}"/>
    <dgm:cxn modelId="{C3F4EBC4-C266-4102-99D3-9164539B3C64}" type="presOf" srcId="{DDAD0FA0-200A-48AF-AE0C-B03C953CDEF0}" destId="{FDD63BA9-2A84-4F27-9469-5C6D05EC6560}" srcOrd="0" destOrd="0" presId="urn:microsoft.com/office/officeart/2005/8/layout/chevron2"/>
    <dgm:cxn modelId="{80FC54BE-A7B5-465A-95FB-F54320C808D4}" type="presOf" srcId="{E2FE1E4C-6891-4E0B-8CA6-851D544912DF}" destId="{198A49EA-6892-4999-939B-87B4BAC29DDC}" srcOrd="0" destOrd="0" presId="urn:microsoft.com/office/officeart/2005/8/layout/chevron2"/>
    <dgm:cxn modelId="{5A078FD2-4ADD-4915-A4EE-FDCACCB4718B}" type="presOf" srcId="{29CBFC0E-EAD3-47B9-88AA-956EF537DA39}" destId="{2A153EA3-D7EA-4D55-822C-827029C85DBE}" srcOrd="0" destOrd="0" presId="urn:microsoft.com/office/officeart/2005/8/layout/chevron2"/>
    <dgm:cxn modelId="{D7ACB59A-B0AB-41F8-97D0-C900EC414FBD}" srcId="{29CBFC0E-EAD3-47B9-88AA-956EF537DA39}" destId="{95CD2603-64B8-4FF2-9334-2ECD3E3113CB}" srcOrd="0" destOrd="0" parTransId="{8A7C8358-6514-49BF-8B15-2B685056FDCB}" sibTransId="{5D160183-DE5A-4086-A4AE-62F98712D8C3}"/>
    <dgm:cxn modelId="{6EAEFF0E-B2DF-4BD2-B7B5-0B2F93EAC014}" srcId="{EE4B11D4-3DBC-471D-B0CF-C09055352364}" destId="{D35496E3-47DE-45E9-98D2-59FD137856F0}" srcOrd="0" destOrd="0" parTransId="{1AF2FF46-152A-4F4C-A9BE-ACF7704E1645}" sibTransId="{6387503A-C409-4B5E-A224-0A790A284507}"/>
    <dgm:cxn modelId="{F60DAF7E-2A26-4880-BFB5-0A19366BC898}" type="presOf" srcId="{D35496E3-47DE-45E9-98D2-59FD137856F0}" destId="{72E456FC-345F-432A-8A78-4678BBA60BE5}" srcOrd="0" destOrd="0" presId="urn:microsoft.com/office/officeart/2005/8/layout/chevron2"/>
    <dgm:cxn modelId="{F35C71DF-3FAF-43CE-AE4C-465C16004286}" srcId="{29CBFC0E-EAD3-47B9-88AA-956EF537DA39}" destId="{47CF1051-87C2-4420-8674-5E35ACF0924B}" srcOrd="1" destOrd="0" parTransId="{E7BF1BD0-CB58-474A-BCCC-7648C7BE1AB6}" sibTransId="{A0C80EF2-F05F-492D-90E6-5A9E1171C15A}"/>
    <dgm:cxn modelId="{9CDA1150-E673-4D1F-908F-D4B312F852AE}" type="presOf" srcId="{EE4B11D4-3DBC-471D-B0CF-C09055352364}" destId="{8DBB4242-42A0-44F9-B33A-F05C72CB589A}" srcOrd="0" destOrd="0" presId="urn:microsoft.com/office/officeart/2005/8/layout/chevron2"/>
    <dgm:cxn modelId="{63B7541C-4ABC-47FF-8907-6C8854BD2991}" type="presOf" srcId="{95CD2603-64B8-4FF2-9334-2ECD3E3113CB}" destId="{B40FA338-69A4-44A6-A841-458EC5369DE6}" srcOrd="0" destOrd="0" presId="urn:microsoft.com/office/officeart/2005/8/layout/chevron2"/>
    <dgm:cxn modelId="{7629BAE0-5DDB-413D-BDA3-3AB3AC7DBDE5}" srcId="{80C7DDB8-4922-4C8E-A85E-A02F6A38AB18}" destId="{1AB31335-3BD2-4BE4-9CDD-22959669F114}" srcOrd="0" destOrd="0" parTransId="{E29957F5-FD9B-4F18-B0AF-EE7AE88E3494}" sibTransId="{B86E0252-A759-42E0-BE9C-E615BE136933}"/>
    <dgm:cxn modelId="{867E1545-95F3-40B0-A4A0-D6BC0710EB1E}" srcId="{9B751603-CECA-4995-95EC-2F4CEA2C1FFC}" destId="{29CBFC0E-EAD3-47B9-88AA-956EF537DA39}" srcOrd="0" destOrd="0" parTransId="{C46BF69D-1429-424A-8381-830DCBC34CB9}" sibTransId="{4948DB16-95BA-4DE1-B6FD-6FE8425C6291}"/>
    <dgm:cxn modelId="{090BF3BD-2B44-44BF-B9DD-009337794C4E}" type="presOf" srcId="{80C7DDB8-4922-4C8E-A85E-A02F6A38AB18}" destId="{02891F74-EF2D-41FE-88CB-63F17B13F9F9}" srcOrd="0" destOrd="0" presId="urn:microsoft.com/office/officeart/2005/8/layout/chevron2"/>
    <dgm:cxn modelId="{A8A3411A-B385-4E7B-B2E9-BEB2BC89C6F3}" type="presOf" srcId="{47CF1051-87C2-4420-8674-5E35ACF0924B}" destId="{B40FA338-69A4-44A6-A841-458EC5369DE6}" srcOrd="0" destOrd="1" presId="urn:microsoft.com/office/officeart/2005/8/layout/chevron2"/>
    <dgm:cxn modelId="{B3C4A9C4-9828-42F3-AF39-3D13A701D445}" type="presOf" srcId="{9B751603-CECA-4995-95EC-2F4CEA2C1FFC}" destId="{FF8BB509-70F0-4C5F-9875-E94E0BB23D10}" srcOrd="0" destOrd="0" presId="urn:microsoft.com/office/officeart/2005/8/layout/chevron2"/>
    <dgm:cxn modelId="{8D55D92F-833A-4DE6-9F1F-3D78A3FEAB2B}" srcId="{E2FE1E4C-6891-4E0B-8CA6-851D544912DF}" destId="{DDAD0FA0-200A-48AF-AE0C-B03C953CDEF0}" srcOrd="0" destOrd="0" parTransId="{2E7B5213-25EA-4E01-B451-0A0B3DD8ABAB}" sibTransId="{9F50F7C2-9620-4C52-9072-B3146757AE70}"/>
    <dgm:cxn modelId="{B5B8FD83-74AC-496F-BEB3-C01C4217E22A}" type="presOf" srcId="{1AB31335-3BD2-4BE4-9CDD-22959669F114}" destId="{74FDB634-F539-4DDC-A39F-6A741F6943A6}" srcOrd="0" destOrd="0" presId="urn:microsoft.com/office/officeart/2005/8/layout/chevron2"/>
    <dgm:cxn modelId="{9CE1C07A-30AC-4CAA-826C-07F7D4F32F0C}" srcId="{9B751603-CECA-4995-95EC-2F4CEA2C1FFC}" destId="{EE4B11D4-3DBC-471D-B0CF-C09055352364}" srcOrd="1" destOrd="0" parTransId="{626FA825-0C30-4635-9EF4-A4F65C66EA7C}" sibTransId="{9270D77C-3CD7-4B98-9687-006A15CC8D2C}"/>
    <dgm:cxn modelId="{1D59D24B-F097-417C-A299-82143D0C523C}" srcId="{9B751603-CECA-4995-95EC-2F4CEA2C1FFC}" destId="{E2FE1E4C-6891-4E0B-8CA6-851D544912DF}" srcOrd="2" destOrd="0" parTransId="{14408B3A-3B26-4571-A45B-49127B3C6B1A}" sibTransId="{31E42903-78D2-41D9-8F5B-EDA496869282}"/>
    <dgm:cxn modelId="{F5B07807-4295-40E9-93B6-D5C9A4750E82}" type="presParOf" srcId="{FF8BB509-70F0-4C5F-9875-E94E0BB23D10}" destId="{CB589DE3-672B-4A40-8ED2-007998853BCE}" srcOrd="0" destOrd="0" presId="urn:microsoft.com/office/officeart/2005/8/layout/chevron2"/>
    <dgm:cxn modelId="{1EFD52AE-C680-49B7-BB85-04A49FF5032B}" type="presParOf" srcId="{CB589DE3-672B-4A40-8ED2-007998853BCE}" destId="{2A153EA3-D7EA-4D55-822C-827029C85DBE}" srcOrd="0" destOrd="0" presId="urn:microsoft.com/office/officeart/2005/8/layout/chevron2"/>
    <dgm:cxn modelId="{E69751EE-75B4-4439-BB89-895E6D7ADC39}" type="presParOf" srcId="{CB589DE3-672B-4A40-8ED2-007998853BCE}" destId="{B40FA338-69A4-44A6-A841-458EC5369DE6}" srcOrd="1" destOrd="0" presId="urn:microsoft.com/office/officeart/2005/8/layout/chevron2"/>
    <dgm:cxn modelId="{2148D1FE-0A34-4287-92DB-EF43D8830318}" type="presParOf" srcId="{FF8BB509-70F0-4C5F-9875-E94E0BB23D10}" destId="{DB231A65-3D80-48D1-892B-5ED66D778F5D}" srcOrd="1" destOrd="0" presId="urn:microsoft.com/office/officeart/2005/8/layout/chevron2"/>
    <dgm:cxn modelId="{8DA788CB-F147-4747-852A-FA7C2D5211C5}" type="presParOf" srcId="{FF8BB509-70F0-4C5F-9875-E94E0BB23D10}" destId="{8C62CBA0-1ECB-4A80-B9FE-F2DD2D3DC262}" srcOrd="2" destOrd="0" presId="urn:microsoft.com/office/officeart/2005/8/layout/chevron2"/>
    <dgm:cxn modelId="{9BC77B4E-6BC3-429E-A4AB-5263352D2C5F}" type="presParOf" srcId="{8C62CBA0-1ECB-4A80-B9FE-F2DD2D3DC262}" destId="{8DBB4242-42A0-44F9-B33A-F05C72CB589A}" srcOrd="0" destOrd="0" presId="urn:microsoft.com/office/officeart/2005/8/layout/chevron2"/>
    <dgm:cxn modelId="{E21037C0-04FC-4129-951C-C92149E4D341}" type="presParOf" srcId="{8C62CBA0-1ECB-4A80-B9FE-F2DD2D3DC262}" destId="{72E456FC-345F-432A-8A78-4678BBA60BE5}" srcOrd="1" destOrd="0" presId="urn:microsoft.com/office/officeart/2005/8/layout/chevron2"/>
    <dgm:cxn modelId="{4F43BA6B-9C52-4233-B375-1FA1A4FC5CCE}" type="presParOf" srcId="{FF8BB509-70F0-4C5F-9875-E94E0BB23D10}" destId="{F8979E95-8BB2-4673-ABBE-844CBA320783}" srcOrd="3" destOrd="0" presId="urn:microsoft.com/office/officeart/2005/8/layout/chevron2"/>
    <dgm:cxn modelId="{78870C1A-D47D-4AD2-A259-4ECAFA8F492F}" type="presParOf" srcId="{FF8BB509-70F0-4C5F-9875-E94E0BB23D10}" destId="{539B2EDC-030E-4D40-B1B3-99347E06FE27}" srcOrd="4" destOrd="0" presId="urn:microsoft.com/office/officeart/2005/8/layout/chevron2"/>
    <dgm:cxn modelId="{7ED9BE58-EFCF-4EC1-BADE-752AD54A8798}" type="presParOf" srcId="{539B2EDC-030E-4D40-B1B3-99347E06FE27}" destId="{198A49EA-6892-4999-939B-87B4BAC29DDC}" srcOrd="0" destOrd="0" presId="urn:microsoft.com/office/officeart/2005/8/layout/chevron2"/>
    <dgm:cxn modelId="{97D7FFC9-4CB7-47F7-B2D8-47644BB112D6}" type="presParOf" srcId="{539B2EDC-030E-4D40-B1B3-99347E06FE27}" destId="{FDD63BA9-2A84-4F27-9469-5C6D05EC6560}" srcOrd="1" destOrd="0" presId="urn:microsoft.com/office/officeart/2005/8/layout/chevron2"/>
    <dgm:cxn modelId="{D4079109-03F1-437C-861C-BECD40D3482A}" type="presParOf" srcId="{FF8BB509-70F0-4C5F-9875-E94E0BB23D10}" destId="{70312331-FB94-4AF3-8C5D-BFF7A00B7B36}" srcOrd="5" destOrd="0" presId="urn:microsoft.com/office/officeart/2005/8/layout/chevron2"/>
    <dgm:cxn modelId="{6C31382F-CB08-4B7F-A2FD-4916035B11FE}" type="presParOf" srcId="{FF8BB509-70F0-4C5F-9875-E94E0BB23D10}" destId="{4ED213D3-1458-4E49-84B5-9A8431BF3A8A}" srcOrd="6" destOrd="0" presId="urn:microsoft.com/office/officeart/2005/8/layout/chevron2"/>
    <dgm:cxn modelId="{2E9291A0-ACD6-4E44-A2D9-FF93B4B71782}" type="presParOf" srcId="{4ED213D3-1458-4E49-84B5-9A8431BF3A8A}" destId="{02891F74-EF2D-41FE-88CB-63F17B13F9F9}" srcOrd="0" destOrd="0" presId="urn:microsoft.com/office/officeart/2005/8/layout/chevron2"/>
    <dgm:cxn modelId="{8C79930C-6635-4D29-8476-899D868887B7}" type="presParOf" srcId="{4ED213D3-1458-4E49-84B5-9A8431BF3A8A}" destId="{74FDB634-F539-4DDC-A39F-6A741F6943A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B751603-CECA-4995-95EC-2F4CEA2C1FFC}" type="doc">
      <dgm:prSet loTypeId="urn:microsoft.com/office/officeart/2005/8/layout/chevron2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fr-FR"/>
        </a:p>
      </dgm:t>
    </dgm:pt>
    <dgm:pt modelId="{EE4B11D4-3DBC-471D-B0CF-C09055352364}">
      <dgm:prSet phldrT="[Texte]" custT="1"/>
      <dgm:spPr>
        <a:solidFill>
          <a:srgbClr val="12466B">
            <a:alpha val="54902"/>
          </a:srgbClr>
        </a:solidFill>
      </dgm:spPr>
      <dgm:t>
        <a:bodyPr/>
        <a:lstStyle/>
        <a:p>
          <a:r>
            <a:rPr lang="fr-FR" sz="1200" b="1" dirty="0" smtClean="0">
              <a:solidFill>
                <a:srgbClr val="12466B"/>
              </a:solidFill>
              <a:latin typeface="Trebuchet MS" panose="020B0603020202020204" pitchFamily="34" charset="0"/>
            </a:rPr>
            <a:t>SEPTEMBRE - DÉCEMBRE</a:t>
          </a:r>
          <a:endParaRPr lang="fr-FR" sz="1200" b="1" dirty="0">
            <a:solidFill>
              <a:srgbClr val="12466B"/>
            </a:solidFill>
            <a:latin typeface="Trebuchet MS" panose="020B0603020202020204" pitchFamily="34" charset="0"/>
          </a:endParaRPr>
        </a:p>
      </dgm:t>
    </dgm:pt>
    <dgm:pt modelId="{9270D77C-3CD7-4B98-9687-006A15CC8D2C}" type="sibTrans" cxnId="{9CE1C07A-30AC-4CAA-826C-07F7D4F32F0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626FA825-0C30-4635-9EF4-A4F65C66EA7C}" type="parTrans" cxnId="{9CE1C07A-30AC-4CAA-826C-07F7D4F32F0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D35496E3-47DE-45E9-98D2-59FD137856F0}">
      <dgm:prSet phldrT="[Texte]" custT="1"/>
      <dgm:spPr/>
      <dgm:t>
        <a:bodyPr/>
        <a:lstStyle/>
        <a:p>
          <a:r>
            <a:rPr lang="fr-FR" sz="2000" dirty="0" smtClean="0"/>
            <a:t>Validation des statuts du RSS dans les Assemblées et les Conseils généraux de toutes les communes du district</a:t>
          </a:r>
          <a:endParaRPr lang="fr-FR" sz="2000" dirty="0">
            <a:latin typeface="Trebuchet MS" panose="020B0603020202020204" pitchFamily="34" charset="0"/>
          </a:endParaRPr>
        </a:p>
      </dgm:t>
    </dgm:pt>
    <dgm:pt modelId="{6387503A-C409-4B5E-A224-0A790A284507}" type="sibTrans" cxnId="{6EAEFF0E-B2DF-4BD2-B7B5-0B2F93EAC014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1AF2FF46-152A-4F4C-A9BE-ACF7704E1645}" type="parTrans" cxnId="{6EAEFF0E-B2DF-4BD2-B7B5-0B2F93EAC014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E2FE1E4C-6891-4E0B-8CA6-851D544912DF}">
      <dgm:prSet phldrT="[Texte]" custT="1"/>
      <dgm:spPr>
        <a:solidFill>
          <a:srgbClr val="12466B">
            <a:alpha val="69804"/>
          </a:srgbClr>
        </a:solidFill>
      </dgm:spPr>
      <dgm:t>
        <a:bodyPr/>
        <a:lstStyle/>
        <a:p>
          <a:r>
            <a:rPr lang="fr-FR" sz="1200" b="1" dirty="0" smtClean="0">
              <a:solidFill>
                <a:schemeClr val="bg1"/>
              </a:solidFill>
              <a:latin typeface="Trebuchet MS" panose="020B0603020202020204" pitchFamily="34" charset="0"/>
            </a:rPr>
            <a:t>SEPTEMBRE - DÉCEMBRE</a:t>
          </a:r>
          <a:endParaRPr lang="fr-FR" sz="1200" b="1" dirty="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31E42903-78D2-41D9-8F5B-EDA496869282}" type="sibTrans" cxnId="{1D59D24B-F097-417C-A299-82143D0C523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14408B3A-3B26-4571-A45B-49127B3C6B1A}" type="parTrans" cxnId="{1D59D24B-F097-417C-A299-82143D0C523C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DDAD0FA0-200A-48AF-AE0C-B03C953CDEF0}">
      <dgm:prSet phldrT="[Texte]" custT="1"/>
      <dgm:spPr/>
      <dgm:t>
        <a:bodyPr/>
        <a:lstStyle/>
        <a:p>
          <a:r>
            <a:rPr lang="fr-FR" sz="2000" dirty="0" smtClean="0"/>
            <a:t>Finalisation des organigrammes</a:t>
          </a:r>
          <a:endParaRPr lang="fr-FR" sz="2000" dirty="0">
            <a:latin typeface="Trebuchet MS" panose="020B0603020202020204" pitchFamily="34" charset="0"/>
          </a:endParaRPr>
        </a:p>
      </dgm:t>
    </dgm:pt>
    <dgm:pt modelId="{9F50F7C2-9620-4C52-9072-B3146757AE70}" type="sibTrans" cxnId="{8D55D92F-833A-4DE6-9F1F-3D78A3FEAB2B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2E7B5213-25EA-4E01-B451-0A0B3DD8ABAB}" type="parTrans" cxnId="{8D55D92F-833A-4DE6-9F1F-3D78A3FEAB2B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80C7DDB8-4922-4C8E-A85E-A02F6A38AB18}">
      <dgm:prSet phldrT="[Texte]" custT="1"/>
      <dgm:spPr>
        <a:solidFill>
          <a:srgbClr val="12466B">
            <a:alpha val="85098"/>
          </a:srgbClr>
        </a:solidFill>
      </dgm:spPr>
      <dgm:t>
        <a:bodyPr anchor="ctr"/>
        <a:lstStyle/>
        <a:p>
          <a:r>
            <a:rPr lang="fr-FR" sz="1600" b="1" dirty="0" smtClean="0">
              <a:solidFill>
                <a:schemeClr val="bg1"/>
              </a:solidFill>
              <a:latin typeface="Trebuchet MS" panose="020B0603020202020204" pitchFamily="34" charset="0"/>
            </a:rPr>
            <a:t>JANVIER</a:t>
          </a:r>
          <a:br>
            <a:rPr lang="fr-FR" sz="1600" b="1" dirty="0" smtClean="0">
              <a:solidFill>
                <a:schemeClr val="bg1"/>
              </a:solidFill>
              <a:latin typeface="Trebuchet MS" panose="020B0603020202020204" pitchFamily="34" charset="0"/>
            </a:rPr>
          </a:br>
          <a:r>
            <a:rPr lang="fr-FR" sz="1600" b="1" dirty="0" smtClean="0">
              <a:solidFill>
                <a:schemeClr val="bg1"/>
              </a:solidFill>
              <a:latin typeface="Trebuchet MS" panose="020B0603020202020204" pitchFamily="34" charset="0"/>
            </a:rPr>
            <a:t>2023</a:t>
          </a:r>
          <a:endParaRPr lang="fr-FR" sz="1600" b="1" dirty="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001DEAB1-ECE7-4147-9B0E-FD2A8F47B19F}" type="sibTrans" cxnId="{4B0CB812-8085-47A0-B531-A8816B52DD89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FA7E7E4B-6555-4600-8F36-632D8EF1195F}" type="parTrans" cxnId="{4B0CB812-8085-47A0-B531-A8816B52DD89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1AB31335-3BD2-4BE4-9CDD-22959669F114}">
      <dgm:prSet phldrT="[Texte]" custT="1"/>
      <dgm:spPr/>
      <dgm:t>
        <a:bodyPr/>
        <a:lstStyle/>
        <a:p>
          <a:r>
            <a:rPr lang="fr-FR" sz="2000" dirty="0" smtClean="0">
              <a:latin typeface="Trebuchet MS" panose="020B0603020202020204" pitchFamily="34" charset="0"/>
            </a:rPr>
            <a:t>Go Live nouvelle organisation (niveau organisationnelle uniquement)</a:t>
          </a:r>
          <a:endParaRPr lang="fr-FR" sz="2000" dirty="0">
            <a:latin typeface="Trebuchet MS" panose="020B0603020202020204" pitchFamily="34" charset="0"/>
          </a:endParaRPr>
        </a:p>
      </dgm:t>
    </dgm:pt>
    <dgm:pt modelId="{B86E0252-A759-42E0-BE9C-E615BE136933}" type="sibTrans" cxnId="{7629BAE0-5DDB-413D-BDA3-3AB3AC7DBDE5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E29957F5-FD9B-4F18-B0AF-EE7AE88E3494}" type="parTrans" cxnId="{7629BAE0-5DDB-413D-BDA3-3AB3AC7DBDE5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95CD2603-64B8-4FF2-9334-2ECD3E3113CB}">
      <dgm:prSet phldrT="[Texte]" custT="1"/>
      <dgm:spPr/>
      <dgm:t>
        <a:bodyPr/>
        <a:lstStyle/>
        <a:p>
          <a:r>
            <a:rPr lang="fr-FR" sz="2000" dirty="0" smtClean="0">
              <a:latin typeface="Trebuchet MS" panose="020B0603020202020204" pitchFamily="34" charset="0"/>
            </a:rPr>
            <a:t>1</a:t>
          </a:r>
          <a:r>
            <a:rPr lang="fr-FR" sz="2000" baseline="30000" dirty="0" smtClean="0">
              <a:latin typeface="Trebuchet MS" panose="020B0603020202020204" pitchFamily="34" charset="0"/>
            </a:rPr>
            <a:t>ère</a:t>
          </a:r>
          <a:r>
            <a:rPr lang="fr-FR" sz="2000" dirty="0" smtClean="0">
              <a:latin typeface="Trebuchet MS" panose="020B0603020202020204" pitchFamily="34" charset="0"/>
            </a:rPr>
            <a:t> séance de l'EM du Bataillon Sarine et commandants des compagnies</a:t>
          </a:r>
          <a:br>
            <a:rPr lang="fr-FR" sz="2000" dirty="0" smtClean="0">
              <a:latin typeface="Trebuchet MS" panose="020B0603020202020204" pitchFamily="34" charset="0"/>
            </a:rPr>
          </a:br>
          <a:r>
            <a:rPr lang="fr-FR" sz="2000" dirty="0" smtClean="0">
              <a:latin typeface="Trebuchet MS" panose="020B0603020202020204" pitchFamily="34" charset="0"/>
            </a:rPr>
            <a:t>(8 Bases de départ – 8 commandants)</a:t>
          </a:r>
          <a:endParaRPr lang="fr-FR" sz="2000" dirty="0">
            <a:latin typeface="Trebuchet MS" panose="020B0603020202020204" pitchFamily="34" charset="0"/>
          </a:endParaRPr>
        </a:p>
      </dgm:t>
    </dgm:pt>
    <dgm:pt modelId="{5D160183-DE5A-4086-A4AE-62F98712D8C3}" type="sibTrans" cxnId="{D7ACB59A-B0AB-41F8-97D0-C900EC414FBD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8A7C8358-6514-49BF-8B15-2B685056FDCB}" type="parTrans" cxnId="{D7ACB59A-B0AB-41F8-97D0-C900EC414FBD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29CBFC0E-EAD3-47B9-88AA-956EF537DA39}">
      <dgm:prSet phldrT="[Texte]" custT="1"/>
      <dgm:spPr>
        <a:solidFill>
          <a:srgbClr val="12466B">
            <a:alpha val="40000"/>
          </a:srgbClr>
        </a:solidFill>
      </dgm:spPr>
      <dgm:t>
        <a:bodyPr/>
        <a:lstStyle/>
        <a:p>
          <a:pPr marL="0" indent="0" algn="ctr" defTabSz="985838">
            <a:tabLst/>
          </a:pPr>
          <a:r>
            <a:rPr lang="fr-FR" sz="1800" b="1" dirty="0" smtClean="0">
              <a:solidFill>
                <a:srgbClr val="12466B"/>
              </a:solidFill>
              <a:latin typeface="Trebuchet MS" panose="020B0603020202020204" pitchFamily="34" charset="0"/>
            </a:rPr>
            <a:t>AOÛT</a:t>
          </a:r>
          <a:endParaRPr lang="fr-FR" sz="1800" b="1" dirty="0">
            <a:solidFill>
              <a:srgbClr val="12466B"/>
            </a:solidFill>
            <a:latin typeface="Trebuchet MS" panose="020B0603020202020204" pitchFamily="34" charset="0"/>
          </a:endParaRPr>
        </a:p>
      </dgm:t>
    </dgm:pt>
    <dgm:pt modelId="{4948DB16-95BA-4DE1-B6FD-6FE8425C6291}" type="sibTrans" cxnId="{867E1545-95F3-40B0-A4A0-D6BC0710EB1E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C46BF69D-1429-424A-8381-830DCBC34CB9}" type="parTrans" cxnId="{867E1545-95F3-40B0-A4A0-D6BC0710EB1E}">
      <dgm:prSet/>
      <dgm:spPr/>
      <dgm:t>
        <a:bodyPr/>
        <a:lstStyle/>
        <a:p>
          <a:endParaRPr lang="fr-FR">
            <a:latin typeface="Trebuchet MS" panose="020B0603020202020204" pitchFamily="34" charset="0"/>
          </a:endParaRPr>
        </a:p>
      </dgm:t>
    </dgm:pt>
    <dgm:pt modelId="{000942FF-9C4C-44FB-9CEF-9136E97D8884}">
      <dgm:prSet custT="1"/>
      <dgm:spPr/>
      <dgm:t>
        <a:bodyPr/>
        <a:lstStyle/>
        <a:p>
          <a:r>
            <a:rPr lang="fr-FR" sz="2000" dirty="0" smtClean="0"/>
            <a:t>Planification finale de la mise en place organisationnelle</a:t>
          </a:r>
          <a:endParaRPr lang="fr-FR" sz="2000" dirty="0"/>
        </a:p>
      </dgm:t>
    </dgm:pt>
    <dgm:pt modelId="{72B8EBDA-0789-46CD-A410-F539360A75EF}" type="parTrans" cxnId="{14BBE740-F0EC-4804-8233-F796269A160F}">
      <dgm:prSet/>
      <dgm:spPr/>
      <dgm:t>
        <a:bodyPr/>
        <a:lstStyle/>
        <a:p>
          <a:endParaRPr lang="fr-FR"/>
        </a:p>
      </dgm:t>
    </dgm:pt>
    <dgm:pt modelId="{F3A82779-F822-42FF-B76B-1E00AFA451BA}" type="sibTrans" cxnId="{14BBE740-F0EC-4804-8233-F796269A160F}">
      <dgm:prSet/>
      <dgm:spPr/>
      <dgm:t>
        <a:bodyPr/>
        <a:lstStyle/>
        <a:p>
          <a:endParaRPr lang="fr-FR"/>
        </a:p>
      </dgm:t>
    </dgm:pt>
    <dgm:pt modelId="{38E4EC6D-1355-4D3D-8FA0-A6CD6C9091AB}">
      <dgm:prSet custT="1"/>
      <dgm:spPr/>
      <dgm:t>
        <a:bodyPr/>
        <a:lstStyle/>
        <a:p>
          <a:r>
            <a:rPr lang="fr-FR" sz="2000" dirty="0" smtClean="0">
              <a:latin typeface="Trebuchet MS" panose="020B0603020202020204" pitchFamily="34" charset="0"/>
            </a:rPr>
            <a:t>Début phase transitoire (adaptations infrastructurelles et logistiques)</a:t>
          </a:r>
          <a:endParaRPr lang="fr-FR" sz="2000" dirty="0">
            <a:latin typeface="Trebuchet MS" panose="020B0603020202020204" pitchFamily="34" charset="0"/>
          </a:endParaRPr>
        </a:p>
      </dgm:t>
    </dgm:pt>
    <dgm:pt modelId="{53DAFDAE-59ED-4A72-9CBF-3AB3F1416D26}" type="parTrans" cxnId="{4C3F190A-CEF7-4B46-B603-B56652F8D700}">
      <dgm:prSet/>
      <dgm:spPr/>
      <dgm:t>
        <a:bodyPr/>
        <a:lstStyle/>
        <a:p>
          <a:endParaRPr lang="fr-FR"/>
        </a:p>
      </dgm:t>
    </dgm:pt>
    <dgm:pt modelId="{FD0C6D19-58DD-4A4B-865E-7D150B687B30}" type="sibTrans" cxnId="{4C3F190A-CEF7-4B46-B603-B56652F8D700}">
      <dgm:prSet/>
      <dgm:spPr/>
      <dgm:t>
        <a:bodyPr/>
        <a:lstStyle/>
        <a:p>
          <a:endParaRPr lang="fr-FR"/>
        </a:p>
      </dgm:t>
    </dgm:pt>
    <dgm:pt modelId="{FF8BB509-70F0-4C5F-9875-E94E0BB23D10}" type="pres">
      <dgm:prSet presAssocID="{9B751603-CECA-4995-95EC-2F4CEA2C1FFC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CB589DE3-672B-4A40-8ED2-007998853BCE}" type="pres">
      <dgm:prSet presAssocID="{29CBFC0E-EAD3-47B9-88AA-956EF537DA39}" presName="composite" presStyleCnt="0"/>
      <dgm:spPr/>
    </dgm:pt>
    <dgm:pt modelId="{2A153EA3-D7EA-4D55-822C-827029C85DBE}" type="pres">
      <dgm:prSet presAssocID="{29CBFC0E-EAD3-47B9-88AA-956EF537DA39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40FA338-69A4-44A6-A841-458EC5369DE6}" type="pres">
      <dgm:prSet presAssocID="{29CBFC0E-EAD3-47B9-88AA-956EF537DA39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B231A65-3D80-48D1-892B-5ED66D778F5D}" type="pres">
      <dgm:prSet presAssocID="{4948DB16-95BA-4DE1-B6FD-6FE8425C6291}" presName="sp" presStyleCnt="0"/>
      <dgm:spPr/>
    </dgm:pt>
    <dgm:pt modelId="{8C62CBA0-1ECB-4A80-B9FE-F2DD2D3DC262}" type="pres">
      <dgm:prSet presAssocID="{EE4B11D4-3DBC-471D-B0CF-C09055352364}" presName="composite" presStyleCnt="0"/>
      <dgm:spPr/>
    </dgm:pt>
    <dgm:pt modelId="{8DBB4242-42A0-44F9-B33A-F05C72CB589A}" type="pres">
      <dgm:prSet presAssocID="{EE4B11D4-3DBC-471D-B0CF-C09055352364}" presName="parentText" presStyleLbl="alignNode1" presStyleIdx="1" presStyleCnt="4" custLinFactNeighborY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2E456FC-345F-432A-8A78-4678BBA60BE5}" type="pres">
      <dgm:prSet presAssocID="{EE4B11D4-3DBC-471D-B0CF-C09055352364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8979E95-8BB2-4673-ABBE-844CBA320783}" type="pres">
      <dgm:prSet presAssocID="{9270D77C-3CD7-4B98-9687-006A15CC8D2C}" presName="sp" presStyleCnt="0"/>
      <dgm:spPr/>
    </dgm:pt>
    <dgm:pt modelId="{539B2EDC-030E-4D40-B1B3-99347E06FE27}" type="pres">
      <dgm:prSet presAssocID="{E2FE1E4C-6891-4E0B-8CA6-851D544912DF}" presName="composite" presStyleCnt="0"/>
      <dgm:spPr/>
    </dgm:pt>
    <dgm:pt modelId="{198A49EA-6892-4999-939B-87B4BAC29DDC}" type="pres">
      <dgm:prSet presAssocID="{E2FE1E4C-6891-4E0B-8CA6-851D544912DF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DD63BA9-2A84-4F27-9469-5C6D05EC6560}" type="pres">
      <dgm:prSet presAssocID="{E2FE1E4C-6891-4E0B-8CA6-851D544912DF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0312331-FB94-4AF3-8C5D-BFF7A00B7B36}" type="pres">
      <dgm:prSet presAssocID="{31E42903-78D2-41D9-8F5B-EDA496869282}" presName="sp" presStyleCnt="0"/>
      <dgm:spPr/>
    </dgm:pt>
    <dgm:pt modelId="{4ED213D3-1458-4E49-84B5-9A8431BF3A8A}" type="pres">
      <dgm:prSet presAssocID="{80C7DDB8-4922-4C8E-A85E-A02F6A38AB18}" presName="composite" presStyleCnt="0"/>
      <dgm:spPr/>
    </dgm:pt>
    <dgm:pt modelId="{02891F74-EF2D-41FE-88CB-63F17B13F9F9}" type="pres">
      <dgm:prSet presAssocID="{80C7DDB8-4922-4C8E-A85E-A02F6A38AB18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4FDB634-F539-4DDC-A39F-6A741F6943A6}" type="pres">
      <dgm:prSet presAssocID="{80C7DDB8-4922-4C8E-A85E-A02F6A38AB18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4B0CB812-8085-47A0-B531-A8816B52DD89}" srcId="{9B751603-CECA-4995-95EC-2F4CEA2C1FFC}" destId="{80C7DDB8-4922-4C8E-A85E-A02F6A38AB18}" srcOrd="3" destOrd="0" parTransId="{FA7E7E4B-6555-4600-8F36-632D8EF1195F}" sibTransId="{001DEAB1-ECE7-4147-9B0E-FD2A8F47B19F}"/>
    <dgm:cxn modelId="{C3F4EBC4-C266-4102-99D3-9164539B3C64}" type="presOf" srcId="{DDAD0FA0-200A-48AF-AE0C-B03C953CDEF0}" destId="{FDD63BA9-2A84-4F27-9469-5C6D05EC6560}" srcOrd="0" destOrd="0" presId="urn:microsoft.com/office/officeart/2005/8/layout/chevron2"/>
    <dgm:cxn modelId="{80FC54BE-A7B5-465A-95FB-F54320C808D4}" type="presOf" srcId="{E2FE1E4C-6891-4E0B-8CA6-851D544912DF}" destId="{198A49EA-6892-4999-939B-87B4BAC29DDC}" srcOrd="0" destOrd="0" presId="urn:microsoft.com/office/officeart/2005/8/layout/chevron2"/>
    <dgm:cxn modelId="{5A078FD2-4ADD-4915-A4EE-FDCACCB4718B}" type="presOf" srcId="{29CBFC0E-EAD3-47B9-88AA-956EF537DA39}" destId="{2A153EA3-D7EA-4D55-822C-827029C85DBE}" srcOrd="0" destOrd="0" presId="urn:microsoft.com/office/officeart/2005/8/layout/chevron2"/>
    <dgm:cxn modelId="{D7ACB59A-B0AB-41F8-97D0-C900EC414FBD}" srcId="{29CBFC0E-EAD3-47B9-88AA-956EF537DA39}" destId="{95CD2603-64B8-4FF2-9334-2ECD3E3113CB}" srcOrd="0" destOrd="0" parTransId="{8A7C8358-6514-49BF-8B15-2B685056FDCB}" sibTransId="{5D160183-DE5A-4086-A4AE-62F98712D8C3}"/>
    <dgm:cxn modelId="{6EAEFF0E-B2DF-4BD2-B7B5-0B2F93EAC014}" srcId="{EE4B11D4-3DBC-471D-B0CF-C09055352364}" destId="{D35496E3-47DE-45E9-98D2-59FD137856F0}" srcOrd="0" destOrd="0" parTransId="{1AF2FF46-152A-4F4C-A9BE-ACF7704E1645}" sibTransId="{6387503A-C409-4B5E-A224-0A790A284507}"/>
    <dgm:cxn modelId="{F60DAF7E-2A26-4880-BFB5-0A19366BC898}" type="presOf" srcId="{D35496E3-47DE-45E9-98D2-59FD137856F0}" destId="{72E456FC-345F-432A-8A78-4678BBA60BE5}" srcOrd="0" destOrd="0" presId="urn:microsoft.com/office/officeart/2005/8/layout/chevron2"/>
    <dgm:cxn modelId="{9CDA1150-E673-4D1F-908F-D4B312F852AE}" type="presOf" srcId="{EE4B11D4-3DBC-471D-B0CF-C09055352364}" destId="{8DBB4242-42A0-44F9-B33A-F05C72CB589A}" srcOrd="0" destOrd="0" presId="urn:microsoft.com/office/officeart/2005/8/layout/chevron2"/>
    <dgm:cxn modelId="{63B7541C-4ABC-47FF-8907-6C8854BD2991}" type="presOf" srcId="{95CD2603-64B8-4FF2-9334-2ECD3E3113CB}" destId="{B40FA338-69A4-44A6-A841-458EC5369DE6}" srcOrd="0" destOrd="0" presId="urn:microsoft.com/office/officeart/2005/8/layout/chevron2"/>
    <dgm:cxn modelId="{7629BAE0-5DDB-413D-BDA3-3AB3AC7DBDE5}" srcId="{80C7DDB8-4922-4C8E-A85E-A02F6A38AB18}" destId="{1AB31335-3BD2-4BE4-9CDD-22959669F114}" srcOrd="0" destOrd="0" parTransId="{E29957F5-FD9B-4F18-B0AF-EE7AE88E3494}" sibTransId="{B86E0252-A759-42E0-BE9C-E615BE136933}"/>
    <dgm:cxn modelId="{867E1545-95F3-40B0-A4A0-D6BC0710EB1E}" srcId="{9B751603-CECA-4995-95EC-2F4CEA2C1FFC}" destId="{29CBFC0E-EAD3-47B9-88AA-956EF537DA39}" srcOrd="0" destOrd="0" parTransId="{C46BF69D-1429-424A-8381-830DCBC34CB9}" sibTransId="{4948DB16-95BA-4DE1-B6FD-6FE8425C6291}"/>
    <dgm:cxn modelId="{14BBE740-F0EC-4804-8233-F796269A160F}" srcId="{E2FE1E4C-6891-4E0B-8CA6-851D544912DF}" destId="{000942FF-9C4C-44FB-9CEF-9136E97D8884}" srcOrd="1" destOrd="0" parTransId="{72B8EBDA-0789-46CD-A410-F539360A75EF}" sibTransId="{F3A82779-F822-42FF-B76B-1E00AFA451BA}"/>
    <dgm:cxn modelId="{090BF3BD-2B44-44BF-B9DD-009337794C4E}" type="presOf" srcId="{80C7DDB8-4922-4C8E-A85E-A02F6A38AB18}" destId="{02891F74-EF2D-41FE-88CB-63F17B13F9F9}" srcOrd="0" destOrd="0" presId="urn:microsoft.com/office/officeart/2005/8/layout/chevron2"/>
    <dgm:cxn modelId="{B3C4A9C4-9828-42F3-AF39-3D13A701D445}" type="presOf" srcId="{9B751603-CECA-4995-95EC-2F4CEA2C1FFC}" destId="{FF8BB509-70F0-4C5F-9875-E94E0BB23D10}" srcOrd="0" destOrd="0" presId="urn:microsoft.com/office/officeart/2005/8/layout/chevron2"/>
    <dgm:cxn modelId="{0D3CE359-8B18-41A3-8C47-5D055588219A}" type="presOf" srcId="{000942FF-9C4C-44FB-9CEF-9136E97D8884}" destId="{FDD63BA9-2A84-4F27-9469-5C6D05EC6560}" srcOrd="0" destOrd="1" presId="urn:microsoft.com/office/officeart/2005/8/layout/chevron2"/>
    <dgm:cxn modelId="{8D55D92F-833A-4DE6-9F1F-3D78A3FEAB2B}" srcId="{E2FE1E4C-6891-4E0B-8CA6-851D544912DF}" destId="{DDAD0FA0-200A-48AF-AE0C-B03C953CDEF0}" srcOrd="0" destOrd="0" parTransId="{2E7B5213-25EA-4E01-B451-0A0B3DD8ABAB}" sibTransId="{9F50F7C2-9620-4C52-9072-B3146757AE70}"/>
    <dgm:cxn modelId="{B5B8FD83-74AC-496F-BEB3-C01C4217E22A}" type="presOf" srcId="{1AB31335-3BD2-4BE4-9CDD-22959669F114}" destId="{74FDB634-F539-4DDC-A39F-6A741F6943A6}" srcOrd="0" destOrd="0" presId="urn:microsoft.com/office/officeart/2005/8/layout/chevron2"/>
    <dgm:cxn modelId="{E48F9A57-1CAD-468B-ADD3-DBA9073B97D7}" type="presOf" srcId="{38E4EC6D-1355-4D3D-8FA0-A6CD6C9091AB}" destId="{74FDB634-F539-4DDC-A39F-6A741F6943A6}" srcOrd="0" destOrd="1" presId="urn:microsoft.com/office/officeart/2005/8/layout/chevron2"/>
    <dgm:cxn modelId="{4C3F190A-CEF7-4B46-B603-B56652F8D700}" srcId="{80C7DDB8-4922-4C8E-A85E-A02F6A38AB18}" destId="{38E4EC6D-1355-4D3D-8FA0-A6CD6C9091AB}" srcOrd="1" destOrd="0" parTransId="{53DAFDAE-59ED-4A72-9CBF-3AB3F1416D26}" sibTransId="{FD0C6D19-58DD-4A4B-865E-7D150B687B30}"/>
    <dgm:cxn modelId="{9CE1C07A-30AC-4CAA-826C-07F7D4F32F0C}" srcId="{9B751603-CECA-4995-95EC-2F4CEA2C1FFC}" destId="{EE4B11D4-3DBC-471D-B0CF-C09055352364}" srcOrd="1" destOrd="0" parTransId="{626FA825-0C30-4635-9EF4-A4F65C66EA7C}" sibTransId="{9270D77C-3CD7-4B98-9687-006A15CC8D2C}"/>
    <dgm:cxn modelId="{1D59D24B-F097-417C-A299-82143D0C523C}" srcId="{9B751603-CECA-4995-95EC-2F4CEA2C1FFC}" destId="{E2FE1E4C-6891-4E0B-8CA6-851D544912DF}" srcOrd="2" destOrd="0" parTransId="{14408B3A-3B26-4571-A45B-49127B3C6B1A}" sibTransId="{31E42903-78D2-41D9-8F5B-EDA496869282}"/>
    <dgm:cxn modelId="{F5B07807-4295-40E9-93B6-D5C9A4750E82}" type="presParOf" srcId="{FF8BB509-70F0-4C5F-9875-E94E0BB23D10}" destId="{CB589DE3-672B-4A40-8ED2-007998853BCE}" srcOrd="0" destOrd="0" presId="urn:microsoft.com/office/officeart/2005/8/layout/chevron2"/>
    <dgm:cxn modelId="{1EFD52AE-C680-49B7-BB85-04A49FF5032B}" type="presParOf" srcId="{CB589DE3-672B-4A40-8ED2-007998853BCE}" destId="{2A153EA3-D7EA-4D55-822C-827029C85DBE}" srcOrd="0" destOrd="0" presId="urn:microsoft.com/office/officeart/2005/8/layout/chevron2"/>
    <dgm:cxn modelId="{E69751EE-75B4-4439-BB89-895E6D7ADC39}" type="presParOf" srcId="{CB589DE3-672B-4A40-8ED2-007998853BCE}" destId="{B40FA338-69A4-44A6-A841-458EC5369DE6}" srcOrd="1" destOrd="0" presId="urn:microsoft.com/office/officeart/2005/8/layout/chevron2"/>
    <dgm:cxn modelId="{2148D1FE-0A34-4287-92DB-EF43D8830318}" type="presParOf" srcId="{FF8BB509-70F0-4C5F-9875-E94E0BB23D10}" destId="{DB231A65-3D80-48D1-892B-5ED66D778F5D}" srcOrd="1" destOrd="0" presId="urn:microsoft.com/office/officeart/2005/8/layout/chevron2"/>
    <dgm:cxn modelId="{8DA788CB-F147-4747-852A-FA7C2D5211C5}" type="presParOf" srcId="{FF8BB509-70F0-4C5F-9875-E94E0BB23D10}" destId="{8C62CBA0-1ECB-4A80-B9FE-F2DD2D3DC262}" srcOrd="2" destOrd="0" presId="urn:microsoft.com/office/officeart/2005/8/layout/chevron2"/>
    <dgm:cxn modelId="{9BC77B4E-6BC3-429E-A4AB-5263352D2C5F}" type="presParOf" srcId="{8C62CBA0-1ECB-4A80-B9FE-F2DD2D3DC262}" destId="{8DBB4242-42A0-44F9-B33A-F05C72CB589A}" srcOrd="0" destOrd="0" presId="urn:microsoft.com/office/officeart/2005/8/layout/chevron2"/>
    <dgm:cxn modelId="{E21037C0-04FC-4129-951C-C92149E4D341}" type="presParOf" srcId="{8C62CBA0-1ECB-4A80-B9FE-F2DD2D3DC262}" destId="{72E456FC-345F-432A-8A78-4678BBA60BE5}" srcOrd="1" destOrd="0" presId="urn:microsoft.com/office/officeart/2005/8/layout/chevron2"/>
    <dgm:cxn modelId="{4F43BA6B-9C52-4233-B375-1FA1A4FC5CCE}" type="presParOf" srcId="{FF8BB509-70F0-4C5F-9875-E94E0BB23D10}" destId="{F8979E95-8BB2-4673-ABBE-844CBA320783}" srcOrd="3" destOrd="0" presId="urn:microsoft.com/office/officeart/2005/8/layout/chevron2"/>
    <dgm:cxn modelId="{78870C1A-D47D-4AD2-A259-4ECAFA8F492F}" type="presParOf" srcId="{FF8BB509-70F0-4C5F-9875-E94E0BB23D10}" destId="{539B2EDC-030E-4D40-B1B3-99347E06FE27}" srcOrd="4" destOrd="0" presId="urn:microsoft.com/office/officeart/2005/8/layout/chevron2"/>
    <dgm:cxn modelId="{7ED9BE58-EFCF-4EC1-BADE-752AD54A8798}" type="presParOf" srcId="{539B2EDC-030E-4D40-B1B3-99347E06FE27}" destId="{198A49EA-6892-4999-939B-87B4BAC29DDC}" srcOrd="0" destOrd="0" presId="urn:microsoft.com/office/officeart/2005/8/layout/chevron2"/>
    <dgm:cxn modelId="{97D7FFC9-4CB7-47F7-B2D8-47644BB112D6}" type="presParOf" srcId="{539B2EDC-030E-4D40-B1B3-99347E06FE27}" destId="{FDD63BA9-2A84-4F27-9469-5C6D05EC6560}" srcOrd="1" destOrd="0" presId="urn:microsoft.com/office/officeart/2005/8/layout/chevron2"/>
    <dgm:cxn modelId="{D4079109-03F1-437C-861C-BECD40D3482A}" type="presParOf" srcId="{FF8BB509-70F0-4C5F-9875-E94E0BB23D10}" destId="{70312331-FB94-4AF3-8C5D-BFF7A00B7B36}" srcOrd="5" destOrd="0" presId="urn:microsoft.com/office/officeart/2005/8/layout/chevron2"/>
    <dgm:cxn modelId="{6C31382F-CB08-4B7F-A2FD-4916035B11FE}" type="presParOf" srcId="{FF8BB509-70F0-4C5F-9875-E94E0BB23D10}" destId="{4ED213D3-1458-4E49-84B5-9A8431BF3A8A}" srcOrd="6" destOrd="0" presId="urn:microsoft.com/office/officeart/2005/8/layout/chevron2"/>
    <dgm:cxn modelId="{2E9291A0-ACD6-4E44-A2D9-FF93B4B71782}" type="presParOf" srcId="{4ED213D3-1458-4E49-84B5-9A8431BF3A8A}" destId="{02891F74-EF2D-41FE-88CB-63F17B13F9F9}" srcOrd="0" destOrd="0" presId="urn:microsoft.com/office/officeart/2005/8/layout/chevron2"/>
    <dgm:cxn modelId="{8C79930C-6635-4D29-8476-899D868887B7}" type="presParOf" srcId="{4ED213D3-1458-4E49-84B5-9A8431BF3A8A}" destId="{74FDB634-F539-4DDC-A39F-6A741F6943A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ACBA789-0782-4628-ACA5-D2EB66293EDB}" type="doc">
      <dgm:prSet loTypeId="urn:microsoft.com/office/officeart/2005/8/layout/vList3" loCatId="picture" qsTypeId="urn:microsoft.com/office/officeart/2005/8/quickstyle/simple1" qsCatId="simple" csTypeId="urn:microsoft.com/office/officeart/2005/8/colors/colorful3" csCatId="colorful" phldr="1"/>
      <dgm:spPr/>
    </dgm:pt>
    <dgm:pt modelId="{35797904-E6FD-4D67-80DA-85D3252BF03C}">
      <dgm:prSet phldrT="[Texte]" custT="1"/>
      <dgm:spPr/>
      <dgm:t>
        <a:bodyPr/>
        <a:lstStyle/>
        <a:p>
          <a:r>
            <a:rPr lang="fr-FR" sz="1300" b="1" dirty="0"/>
            <a:t>Fribourg </a:t>
          </a:r>
          <a:r>
            <a:rPr lang="fr-FR" sz="800" b="0" dirty="0"/>
            <a:t>(inclus Givisiez)</a:t>
          </a:r>
        </a:p>
      </dgm:t>
    </dgm:pt>
    <dgm:pt modelId="{7B1D2CD1-49F3-4088-93C1-E05385FC83EA}" type="parTrans" cxnId="{6199D9AB-BDB4-434F-BDE6-DDDFF64CACD1}">
      <dgm:prSet/>
      <dgm:spPr/>
      <dgm:t>
        <a:bodyPr/>
        <a:lstStyle/>
        <a:p>
          <a:endParaRPr lang="fr-FR"/>
        </a:p>
      </dgm:t>
    </dgm:pt>
    <dgm:pt modelId="{05C3C093-DE6E-49F9-B20E-3677F50365C8}" type="sibTrans" cxnId="{6199D9AB-BDB4-434F-BDE6-DDDFF64CACD1}">
      <dgm:prSet/>
      <dgm:spPr/>
      <dgm:t>
        <a:bodyPr/>
        <a:lstStyle/>
        <a:p>
          <a:endParaRPr lang="fr-FR"/>
        </a:p>
      </dgm:t>
    </dgm:pt>
    <dgm:pt modelId="{97F980ED-2D50-43F0-AF03-BBD8497A2AB0}">
      <dgm:prSet phldrT="[Texte]" custT="1"/>
      <dgm:spPr/>
      <dgm:t>
        <a:bodyPr/>
        <a:lstStyle/>
        <a:p>
          <a:r>
            <a:rPr lang="fr-FR" sz="1300" b="1" dirty="0"/>
            <a:t>Granges-</a:t>
          </a:r>
          <a:r>
            <a:rPr lang="fr-FR" sz="1300" b="1" dirty="0" err="1"/>
            <a:t>Paccot</a:t>
          </a:r>
          <a:endParaRPr lang="fr-FR" sz="1300" b="1" dirty="0"/>
        </a:p>
      </dgm:t>
    </dgm:pt>
    <dgm:pt modelId="{74F5509F-8A0A-4A27-B1F0-F4995F5B4906}" type="parTrans" cxnId="{52883D13-9436-4217-8C23-EFE474C551ED}">
      <dgm:prSet/>
      <dgm:spPr/>
      <dgm:t>
        <a:bodyPr/>
        <a:lstStyle/>
        <a:p>
          <a:endParaRPr lang="fr-FR"/>
        </a:p>
      </dgm:t>
    </dgm:pt>
    <dgm:pt modelId="{100E9441-DCA6-42D3-AD3A-0CACAF5647E7}" type="sibTrans" cxnId="{52883D13-9436-4217-8C23-EFE474C551ED}">
      <dgm:prSet/>
      <dgm:spPr/>
      <dgm:t>
        <a:bodyPr/>
        <a:lstStyle/>
        <a:p>
          <a:endParaRPr lang="fr-FR"/>
        </a:p>
      </dgm:t>
    </dgm:pt>
    <dgm:pt modelId="{29AF0C34-D4A8-4748-AA7F-39970382916D}">
      <dgm:prSet phldrT="[Texte]" custT="1"/>
      <dgm:spPr/>
      <dgm:t>
        <a:bodyPr/>
        <a:lstStyle/>
        <a:p>
          <a:r>
            <a:rPr lang="fr-FR" sz="1300" b="1" dirty="0"/>
            <a:t>Sarine Nord </a:t>
          </a:r>
          <a:r>
            <a:rPr lang="fr-FR" sz="800" dirty="0"/>
            <a:t>(Belfaux, La </a:t>
          </a:r>
          <a:r>
            <a:rPr lang="fr-FR" sz="800" dirty="0" err="1"/>
            <a:t>Sonnaz</a:t>
          </a:r>
          <a:r>
            <a:rPr lang="fr-FR" sz="800" dirty="0"/>
            <a:t>, Grolley, </a:t>
          </a:r>
          <a:r>
            <a:rPr lang="fr-FR" sz="800" dirty="0" err="1"/>
            <a:t>Ponthaux</a:t>
          </a:r>
          <a:r>
            <a:rPr lang="fr-FR" sz="800" dirty="0"/>
            <a:t>)</a:t>
          </a:r>
        </a:p>
      </dgm:t>
    </dgm:pt>
    <dgm:pt modelId="{B9EFBAF3-2424-4A4E-A295-6564880C6784}" type="parTrans" cxnId="{731C4749-6645-48A7-9818-81E510C3F3AF}">
      <dgm:prSet/>
      <dgm:spPr/>
      <dgm:t>
        <a:bodyPr/>
        <a:lstStyle/>
        <a:p>
          <a:endParaRPr lang="fr-FR"/>
        </a:p>
      </dgm:t>
    </dgm:pt>
    <dgm:pt modelId="{305986B1-E7FC-443C-9621-DC12E5D7BBE9}" type="sibTrans" cxnId="{731C4749-6645-48A7-9818-81E510C3F3AF}">
      <dgm:prSet/>
      <dgm:spPr/>
      <dgm:t>
        <a:bodyPr/>
        <a:lstStyle/>
        <a:p>
          <a:endParaRPr lang="fr-FR"/>
        </a:p>
      </dgm:t>
    </dgm:pt>
    <dgm:pt modelId="{094EF855-E5D1-41A7-8422-B9527D42FFD2}">
      <dgm:prSet phldrT="[Texte]" custT="1"/>
      <dgm:spPr/>
      <dgm:t>
        <a:bodyPr/>
        <a:lstStyle/>
        <a:p>
          <a:r>
            <a:rPr lang="fr-FR" sz="1300" b="1" dirty="0"/>
            <a:t>Sarine Ouest </a:t>
          </a:r>
          <a:r>
            <a:rPr lang="fr-FR" sz="800" b="0" dirty="0"/>
            <a:t>(</a:t>
          </a:r>
          <a:r>
            <a:rPr lang="fr-FR" sz="800" b="0" dirty="0" err="1"/>
            <a:t>Autigny</a:t>
          </a:r>
          <a:r>
            <a:rPr lang="fr-FR" sz="800" b="0" dirty="0"/>
            <a:t>, </a:t>
          </a:r>
          <a:r>
            <a:rPr lang="fr-FR" sz="800" b="0" dirty="0" err="1"/>
            <a:t>Chénens</a:t>
          </a:r>
          <a:r>
            <a:rPr lang="fr-FR" sz="800" b="0" dirty="0"/>
            <a:t>, </a:t>
          </a:r>
          <a:r>
            <a:rPr lang="fr-FR" sz="800" b="0" dirty="0" err="1"/>
            <a:t>Cottens</a:t>
          </a:r>
          <a:r>
            <a:rPr lang="fr-FR" sz="800" b="0" dirty="0"/>
            <a:t>, La </a:t>
          </a:r>
          <a:r>
            <a:rPr lang="fr-FR" sz="800" b="0" dirty="0" err="1"/>
            <a:t>Brillaz</a:t>
          </a:r>
          <a:r>
            <a:rPr lang="fr-FR" sz="800" b="0" dirty="0"/>
            <a:t>)</a:t>
          </a:r>
        </a:p>
      </dgm:t>
    </dgm:pt>
    <dgm:pt modelId="{B8D6DFD4-256B-4C03-A0D0-7BD0E95A0DFE}" type="parTrans" cxnId="{274F8A44-C368-4025-B69E-F6A5E7B315D3}">
      <dgm:prSet/>
      <dgm:spPr/>
      <dgm:t>
        <a:bodyPr/>
        <a:lstStyle/>
        <a:p>
          <a:endParaRPr lang="fr-FR"/>
        </a:p>
      </dgm:t>
    </dgm:pt>
    <dgm:pt modelId="{F5F34B76-09CE-4AA6-8556-FB56BBCE0BE9}" type="sibTrans" cxnId="{274F8A44-C368-4025-B69E-F6A5E7B315D3}">
      <dgm:prSet/>
      <dgm:spPr/>
      <dgm:t>
        <a:bodyPr/>
        <a:lstStyle/>
        <a:p>
          <a:endParaRPr lang="fr-FR"/>
        </a:p>
      </dgm:t>
    </dgm:pt>
    <dgm:pt modelId="{99A76D28-CD83-4B48-838B-178DF491DACC}">
      <dgm:prSet phldrT="[Texte]" custT="1"/>
      <dgm:spPr/>
      <dgm:t>
        <a:bodyPr/>
        <a:lstStyle/>
        <a:p>
          <a:r>
            <a:rPr lang="fr-FR" sz="1300" b="1" dirty="0"/>
            <a:t>Marly</a:t>
          </a:r>
          <a:r>
            <a:rPr lang="fr-FR" sz="1000" dirty="0"/>
            <a:t> </a:t>
          </a:r>
          <a:r>
            <a:rPr lang="fr-FR" sz="800" dirty="0"/>
            <a:t>(inclus </a:t>
          </a:r>
          <a:r>
            <a:rPr lang="fr-FR" sz="800" dirty="0" err="1"/>
            <a:t>Villarsel</a:t>
          </a:r>
          <a:r>
            <a:rPr lang="fr-FR" sz="800" dirty="0"/>
            <a:t>-sur-Marly, Pierrafortscha)</a:t>
          </a:r>
        </a:p>
      </dgm:t>
    </dgm:pt>
    <dgm:pt modelId="{32512190-23D3-429D-B119-A20180A225A0}" type="parTrans" cxnId="{6BD5BF7D-1378-44D8-B71C-E963336B90F0}">
      <dgm:prSet/>
      <dgm:spPr/>
      <dgm:t>
        <a:bodyPr/>
        <a:lstStyle/>
        <a:p>
          <a:endParaRPr lang="fr-FR"/>
        </a:p>
      </dgm:t>
    </dgm:pt>
    <dgm:pt modelId="{2F03C2A1-6D9B-4DDD-836C-B21F1B0FEA81}" type="sibTrans" cxnId="{6BD5BF7D-1378-44D8-B71C-E963336B90F0}">
      <dgm:prSet/>
      <dgm:spPr/>
      <dgm:t>
        <a:bodyPr/>
        <a:lstStyle/>
        <a:p>
          <a:endParaRPr lang="fr-FR"/>
        </a:p>
      </dgm:t>
    </dgm:pt>
    <dgm:pt modelId="{070D9E46-D31A-4128-A33F-1A99B2113356}">
      <dgm:prSet phldrT="[Texte]" custT="1"/>
      <dgm:spPr/>
      <dgm:t>
        <a:bodyPr/>
        <a:lstStyle/>
        <a:p>
          <a:r>
            <a:rPr lang="fr-FR" sz="1300" b="1" dirty="0"/>
            <a:t>Le Mouret </a:t>
          </a:r>
          <a:r>
            <a:rPr lang="fr-FR" sz="800" b="0" dirty="0"/>
            <a:t>(inclus </a:t>
          </a:r>
          <a:r>
            <a:rPr lang="fr-FR" sz="800" b="0" dirty="0" err="1"/>
            <a:t>Ferpicloz</a:t>
          </a:r>
          <a:r>
            <a:rPr lang="fr-FR" sz="800" b="0" dirty="0"/>
            <a:t>)</a:t>
          </a:r>
        </a:p>
      </dgm:t>
    </dgm:pt>
    <dgm:pt modelId="{18C6D3B5-AEFB-42FE-9071-A67F43457E11}" type="parTrans" cxnId="{61A0B18B-4659-43C2-8D32-6886345B284A}">
      <dgm:prSet/>
      <dgm:spPr/>
      <dgm:t>
        <a:bodyPr/>
        <a:lstStyle/>
        <a:p>
          <a:endParaRPr lang="fr-FR"/>
        </a:p>
      </dgm:t>
    </dgm:pt>
    <dgm:pt modelId="{DEE18C14-818A-45E3-98B7-D45DCD83FAC7}" type="sibTrans" cxnId="{61A0B18B-4659-43C2-8D32-6886345B284A}">
      <dgm:prSet/>
      <dgm:spPr/>
      <dgm:t>
        <a:bodyPr/>
        <a:lstStyle/>
        <a:p>
          <a:endParaRPr lang="fr-FR"/>
        </a:p>
      </dgm:t>
    </dgm:pt>
    <dgm:pt modelId="{F4D7AEBE-4076-40E3-8DED-31F83B17EBC6}">
      <dgm:prSet phldrT="[Texte]" custT="1"/>
      <dgm:spPr/>
      <dgm:t>
        <a:bodyPr/>
        <a:lstStyle/>
        <a:p>
          <a:r>
            <a:rPr lang="fr-FR" sz="1300" b="1" dirty="0"/>
            <a:t>Petite Sarine </a:t>
          </a:r>
          <a:r>
            <a:rPr lang="fr-FR" sz="800" dirty="0"/>
            <a:t>(</a:t>
          </a:r>
          <a:r>
            <a:rPr lang="fr-FR" sz="800" dirty="0" err="1"/>
            <a:t>Treyvaux</a:t>
          </a:r>
          <a:r>
            <a:rPr lang="fr-FR" sz="800" dirty="0"/>
            <a:t>, Bois d'Amont)</a:t>
          </a:r>
        </a:p>
      </dgm:t>
    </dgm:pt>
    <dgm:pt modelId="{C12A3191-56C5-4F5D-8558-528F05C3B531}" type="parTrans" cxnId="{A658C894-2298-4EE1-AB64-4CBC6BFDDB1E}">
      <dgm:prSet/>
      <dgm:spPr/>
      <dgm:t>
        <a:bodyPr/>
        <a:lstStyle/>
        <a:p>
          <a:endParaRPr lang="fr-FR"/>
        </a:p>
      </dgm:t>
    </dgm:pt>
    <dgm:pt modelId="{6A543F70-F6AD-435B-ADD0-918FCAF1ABD8}" type="sibTrans" cxnId="{A658C894-2298-4EE1-AB64-4CBC6BFDDB1E}">
      <dgm:prSet/>
      <dgm:spPr/>
      <dgm:t>
        <a:bodyPr/>
        <a:lstStyle/>
        <a:p>
          <a:endParaRPr lang="fr-FR"/>
        </a:p>
      </dgm:t>
    </dgm:pt>
    <dgm:pt modelId="{95C91A22-983E-45B5-850E-8EFB56FA5AED}">
      <dgm:prSet phldrT="[Texte]" custT="1"/>
      <dgm:spPr/>
      <dgm:t>
        <a:bodyPr/>
        <a:lstStyle/>
        <a:p>
          <a:r>
            <a:rPr lang="fr-FR" sz="1300" b="1" dirty="0"/>
            <a:t>Villars-sur-Glâne</a:t>
          </a:r>
        </a:p>
      </dgm:t>
    </dgm:pt>
    <dgm:pt modelId="{A935C53A-16C2-4447-A350-6DE07C10EC7F}" type="parTrans" cxnId="{9BFF9595-C305-49BF-8B14-958E390A3458}">
      <dgm:prSet/>
      <dgm:spPr/>
      <dgm:t>
        <a:bodyPr/>
        <a:lstStyle/>
        <a:p>
          <a:endParaRPr lang="fr-FR"/>
        </a:p>
      </dgm:t>
    </dgm:pt>
    <dgm:pt modelId="{172E82F6-7C4D-4AD6-A7F1-F47092693CED}" type="sibTrans" cxnId="{9BFF9595-C305-49BF-8B14-958E390A3458}">
      <dgm:prSet/>
      <dgm:spPr/>
      <dgm:t>
        <a:bodyPr/>
        <a:lstStyle/>
        <a:p>
          <a:endParaRPr lang="fr-FR"/>
        </a:p>
      </dgm:t>
    </dgm:pt>
    <dgm:pt modelId="{F1619BEB-0879-4E8A-8FA0-CA87DEE5A2D3}">
      <dgm:prSet phldrT="[Texte]" custT="1"/>
      <dgm:spPr/>
      <dgm:t>
        <a:bodyPr/>
        <a:lstStyle/>
        <a:p>
          <a:r>
            <a:rPr lang="fr-FR" sz="1300" b="1" dirty="0" err="1"/>
            <a:t>Corminboeuf</a:t>
          </a:r>
          <a:endParaRPr lang="fr-FR" sz="1300" b="1" dirty="0"/>
        </a:p>
      </dgm:t>
    </dgm:pt>
    <dgm:pt modelId="{D8A40A36-3889-43BF-8A2C-4D1BB9923ECC}" type="parTrans" cxnId="{12AECCD6-B51F-496F-8257-7890AE283176}">
      <dgm:prSet/>
      <dgm:spPr/>
      <dgm:t>
        <a:bodyPr/>
        <a:lstStyle/>
        <a:p>
          <a:endParaRPr lang="fr-FR"/>
        </a:p>
      </dgm:t>
    </dgm:pt>
    <dgm:pt modelId="{729EBD4A-9BFE-4033-8A2A-DFEA2BBA091D}" type="sibTrans" cxnId="{12AECCD6-B51F-496F-8257-7890AE283176}">
      <dgm:prSet/>
      <dgm:spPr/>
      <dgm:t>
        <a:bodyPr/>
        <a:lstStyle/>
        <a:p>
          <a:endParaRPr lang="fr-FR"/>
        </a:p>
      </dgm:t>
    </dgm:pt>
    <dgm:pt modelId="{A512F16A-CC0F-4A3B-8B92-A02AB90EC8F5}">
      <dgm:prSet phldrT="[Texte]" custT="1"/>
      <dgm:spPr/>
      <dgm:t>
        <a:bodyPr/>
        <a:lstStyle/>
        <a:p>
          <a:r>
            <a:rPr lang="fr-FR" sz="1300" b="1" dirty="0"/>
            <a:t>M.A.N. </a:t>
          </a:r>
          <a:r>
            <a:rPr lang="fr-FR" sz="800" b="0" dirty="0"/>
            <a:t>(</a:t>
          </a:r>
          <a:r>
            <a:rPr lang="fr-FR" sz="800" b="0" dirty="0" err="1"/>
            <a:t>Matran</a:t>
          </a:r>
          <a:r>
            <a:rPr lang="fr-FR" sz="800" b="0" dirty="0"/>
            <a:t>, </a:t>
          </a:r>
          <a:r>
            <a:rPr lang="fr-FR" sz="800" b="0" dirty="0" err="1"/>
            <a:t>Avry</a:t>
          </a:r>
          <a:r>
            <a:rPr lang="fr-FR" sz="800" b="0" dirty="0"/>
            <a:t>, Neyruz)</a:t>
          </a:r>
        </a:p>
      </dgm:t>
    </dgm:pt>
    <dgm:pt modelId="{9626C434-126F-4AE1-972D-BDE0D34FAB4F}" type="parTrans" cxnId="{15D7BCA4-1111-4F8D-BD76-B01FF47B17A8}">
      <dgm:prSet/>
      <dgm:spPr/>
      <dgm:t>
        <a:bodyPr/>
        <a:lstStyle/>
        <a:p>
          <a:endParaRPr lang="fr-FR"/>
        </a:p>
      </dgm:t>
    </dgm:pt>
    <dgm:pt modelId="{2ECFBCF1-5057-44DC-96E1-8D64B5F43683}" type="sibTrans" cxnId="{15D7BCA4-1111-4F8D-BD76-B01FF47B17A8}">
      <dgm:prSet/>
      <dgm:spPr/>
      <dgm:t>
        <a:bodyPr/>
        <a:lstStyle/>
        <a:p>
          <a:endParaRPr lang="fr-FR"/>
        </a:p>
      </dgm:t>
    </dgm:pt>
    <dgm:pt modelId="{9D62803E-284E-4626-AB70-8EE47EC3A3AE}">
      <dgm:prSet phldrT="[Texte]" custT="1"/>
      <dgm:spPr/>
      <dgm:t>
        <a:bodyPr/>
        <a:lstStyle/>
        <a:p>
          <a:r>
            <a:rPr lang="fr-FR" sz="1300" b="1" dirty="0"/>
            <a:t>NPC </a:t>
          </a:r>
          <a:r>
            <a:rPr lang="fr-FR" sz="800" b="0" dirty="0"/>
            <a:t>(Prez)</a:t>
          </a:r>
        </a:p>
      </dgm:t>
    </dgm:pt>
    <dgm:pt modelId="{203ACF31-6774-49FD-9594-306B5C9D206B}" type="parTrans" cxnId="{A8F0FF08-2158-417E-84D4-75AB9AEF8CAF}">
      <dgm:prSet/>
      <dgm:spPr/>
      <dgm:t>
        <a:bodyPr/>
        <a:lstStyle/>
        <a:p>
          <a:endParaRPr lang="fr-FR"/>
        </a:p>
      </dgm:t>
    </dgm:pt>
    <dgm:pt modelId="{BC59519F-CC30-4E64-B7AF-D00CA0A2EC69}" type="sibTrans" cxnId="{A8F0FF08-2158-417E-84D4-75AB9AEF8CAF}">
      <dgm:prSet/>
      <dgm:spPr/>
      <dgm:t>
        <a:bodyPr/>
        <a:lstStyle/>
        <a:p>
          <a:endParaRPr lang="fr-FR"/>
        </a:p>
      </dgm:t>
    </dgm:pt>
    <dgm:pt modelId="{C4BCBE33-7942-4DD9-A3C9-0BCE5F5664D5}">
      <dgm:prSet phldrT="[Texte]" custT="1"/>
      <dgm:spPr/>
      <dgm:t>
        <a:bodyPr/>
        <a:lstStyle/>
        <a:p>
          <a:r>
            <a:rPr lang="fr-FR" sz="1300" b="1" dirty="0"/>
            <a:t>Hauterive</a:t>
          </a:r>
        </a:p>
      </dgm:t>
    </dgm:pt>
    <dgm:pt modelId="{3AE55BF2-29BB-4731-84CC-25C195B80685}" type="parTrans" cxnId="{E365168C-2321-46E8-8D7F-1B2D7D6B4DE0}">
      <dgm:prSet/>
      <dgm:spPr/>
      <dgm:t>
        <a:bodyPr/>
        <a:lstStyle/>
        <a:p>
          <a:endParaRPr lang="fr-FR"/>
        </a:p>
      </dgm:t>
    </dgm:pt>
    <dgm:pt modelId="{F2061AF9-C5C7-4C57-8D9F-0159985A8058}" type="sibTrans" cxnId="{E365168C-2321-46E8-8D7F-1B2D7D6B4DE0}">
      <dgm:prSet/>
      <dgm:spPr/>
      <dgm:t>
        <a:bodyPr/>
        <a:lstStyle/>
        <a:p>
          <a:endParaRPr lang="fr-FR"/>
        </a:p>
      </dgm:t>
    </dgm:pt>
    <dgm:pt modelId="{10B1D88A-CFF8-4850-B00E-6B370D34EFAA}">
      <dgm:prSet phldrT="[Texte]" custT="1"/>
      <dgm:spPr/>
      <dgm:t>
        <a:bodyPr/>
        <a:lstStyle/>
        <a:p>
          <a:r>
            <a:rPr lang="fr-FR" sz="1300" b="1" dirty="0" err="1"/>
            <a:t>Gibloux</a:t>
          </a:r>
          <a:endParaRPr lang="fr-FR" sz="1300" b="1" dirty="0"/>
        </a:p>
      </dgm:t>
    </dgm:pt>
    <dgm:pt modelId="{E6732263-7DC7-4B26-AB88-9AB3681EC809}" type="parTrans" cxnId="{C6AA1DC1-7B19-48F1-AA0B-E92AD15E85EE}">
      <dgm:prSet/>
      <dgm:spPr/>
      <dgm:t>
        <a:bodyPr/>
        <a:lstStyle/>
        <a:p>
          <a:endParaRPr lang="fr-FR"/>
        </a:p>
      </dgm:t>
    </dgm:pt>
    <dgm:pt modelId="{38704378-2D91-46B6-92D6-98C0FD101075}" type="sibTrans" cxnId="{C6AA1DC1-7B19-48F1-AA0B-E92AD15E85EE}">
      <dgm:prSet/>
      <dgm:spPr/>
      <dgm:t>
        <a:bodyPr/>
        <a:lstStyle/>
        <a:p>
          <a:endParaRPr lang="fr-FR"/>
        </a:p>
      </dgm:t>
    </dgm:pt>
    <dgm:pt modelId="{D2AC9C53-006C-4C94-9B44-06C0273F517B}" type="pres">
      <dgm:prSet presAssocID="{0ACBA789-0782-4628-ACA5-D2EB66293EDB}" presName="linearFlow" presStyleCnt="0">
        <dgm:presLayoutVars>
          <dgm:dir/>
          <dgm:resizeHandles val="exact"/>
        </dgm:presLayoutVars>
      </dgm:prSet>
      <dgm:spPr/>
    </dgm:pt>
    <dgm:pt modelId="{B2357A36-4425-44D5-A7FE-212BE73139E1}" type="pres">
      <dgm:prSet presAssocID="{35797904-E6FD-4D67-80DA-85D3252BF03C}" presName="composite" presStyleCnt="0"/>
      <dgm:spPr/>
    </dgm:pt>
    <dgm:pt modelId="{7EBA2874-D103-4D8B-BE8D-96919C7CE98F}" type="pres">
      <dgm:prSet presAssocID="{35797904-E6FD-4D67-80DA-85D3252BF03C}" presName="imgShp" presStyleLbl="fgImgPlace1" presStyleIdx="0" presStyleCnt="13"/>
      <dgm:spPr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95000" t="6019" r="-27900" b="6019"/>
          </a:stretch>
        </a:blipFill>
      </dgm:spPr>
    </dgm:pt>
    <dgm:pt modelId="{5BD236C9-FF12-4C0E-BDF3-68C8E373B1B5}" type="pres">
      <dgm:prSet presAssocID="{35797904-E6FD-4D67-80DA-85D3252BF03C}" presName="txShp" presStyleLbl="node1" presStyleIdx="0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D6EAF19-C75A-4D35-B354-28ED0F80F76E}" type="pres">
      <dgm:prSet presAssocID="{05C3C093-DE6E-49F9-B20E-3677F50365C8}" presName="spacing" presStyleCnt="0"/>
      <dgm:spPr/>
    </dgm:pt>
    <dgm:pt modelId="{8CAE7FC4-3ED1-4261-B593-F3BC67E3D0C4}" type="pres">
      <dgm:prSet presAssocID="{97F980ED-2D50-43F0-AF03-BBD8497A2AB0}" presName="composite" presStyleCnt="0"/>
      <dgm:spPr/>
    </dgm:pt>
    <dgm:pt modelId="{EA5A0AC3-1A2C-4C5E-961C-96808518D633}" type="pres">
      <dgm:prSet presAssocID="{97F980ED-2D50-43F0-AF03-BBD8497A2AB0}" presName="imgShp" presStyleLbl="fgImgPlace1" presStyleIdx="1" presStyleCnt="1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2D7EFFC3-2FEB-460A-87C9-84D44D380CE6}" type="pres">
      <dgm:prSet presAssocID="{97F980ED-2D50-43F0-AF03-BBD8497A2AB0}" presName="txShp" presStyleLbl="node1" presStyleIdx="1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FD4C1BB-E4DA-4DEC-87D9-52DAEA653FC8}" type="pres">
      <dgm:prSet presAssocID="{100E9441-DCA6-42D3-AD3A-0CACAF5647E7}" presName="spacing" presStyleCnt="0"/>
      <dgm:spPr/>
    </dgm:pt>
    <dgm:pt modelId="{5C55B996-D97D-4A32-8646-D74D1D021DDD}" type="pres">
      <dgm:prSet presAssocID="{29AF0C34-D4A8-4748-AA7F-39970382916D}" presName="composite" presStyleCnt="0"/>
      <dgm:spPr/>
    </dgm:pt>
    <dgm:pt modelId="{801FD5E3-DA1B-4AF8-AEAE-2D5FEEE62849}" type="pres">
      <dgm:prSet presAssocID="{29AF0C34-D4A8-4748-AA7F-39970382916D}" presName="imgShp" presStyleLbl="fgImgPlace1" presStyleIdx="2" presStyleCnt="13"/>
      <dgm:spPr>
        <a:blipFill dpi="0"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6019" t="-264" r="6019" b="-264"/>
          </a:stretch>
        </a:blipFill>
      </dgm:spPr>
    </dgm:pt>
    <dgm:pt modelId="{EF19CE7E-97C0-4C0F-BBD8-EB10A2D7129C}" type="pres">
      <dgm:prSet presAssocID="{29AF0C34-D4A8-4748-AA7F-39970382916D}" presName="txShp" presStyleLbl="node1" presStyleIdx="2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B389C6D-E846-48AF-ABA0-D7C08E5D2632}" type="pres">
      <dgm:prSet presAssocID="{305986B1-E7FC-443C-9621-DC12E5D7BBE9}" presName="spacing" presStyleCnt="0"/>
      <dgm:spPr/>
    </dgm:pt>
    <dgm:pt modelId="{C6DB7A29-21AE-47A6-9F46-AE70A73BF624}" type="pres">
      <dgm:prSet presAssocID="{99A76D28-CD83-4B48-838B-178DF491DACC}" presName="composite" presStyleCnt="0"/>
      <dgm:spPr/>
    </dgm:pt>
    <dgm:pt modelId="{3C7DAA42-FBE4-4DEC-A979-B0BF9E05F701}" type="pres">
      <dgm:prSet presAssocID="{99A76D28-CD83-4B48-838B-178DF491DACC}" presName="imgShp" presStyleLbl="fgImgPlace1" presStyleIdx="3" presStyleCnt="13"/>
      <dgm:spPr>
        <a:blipFill dpi="0" rotWithShape="1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302" t="6019" r="12302" b="6019"/>
          </a:stretch>
        </a:blipFill>
      </dgm:spPr>
    </dgm:pt>
    <dgm:pt modelId="{8E120CC3-706D-4788-9428-84655D1793F9}" type="pres">
      <dgm:prSet presAssocID="{99A76D28-CD83-4B48-838B-178DF491DACC}" presName="txShp" presStyleLbl="node1" presStyleIdx="3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2EA6E58-3EFB-4684-AC0E-CF43ACBE6F15}" type="pres">
      <dgm:prSet presAssocID="{2F03C2A1-6D9B-4DDD-836C-B21F1B0FEA81}" presName="spacing" presStyleCnt="0"/>
      <dgm:spPr/>
    </dgm:pt>
    <dgm:pt modelId="{B62FD249-FB95-4050-A063-DA73BFE4C993}" type="pres">
      <dgm:prSet presAssocID="{070D9E46-D31A-4128-A33F-1A99B2113356}" presName="composite" presStyleCnt="0"/>
      <dgm:spPr/>
    </dgm:pt>
    <dgm:pt modelId="{5F5EDB30-E60B-4093-BC28-E971BF107CE7}" type="pres">
      <dgm:prSet presAssocID="{070D9E46-D31A-4128-A33F-1A99B2113356}" presName="imgShp" presStyleLbl="fgImgPlace1" presStyleIdx="4" presStyleCnt="1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35A70C11-AB86-4092-8426-ED3C5667EB30}" type="pres">
      <dgm:prSet presAssocID="{070D9E46-D31A-4128-A33F-1A99B2113356}" presName="txShp" presStyleLbl="node1" presStyleIdx="4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AA54999-43C0-41CD-AA77-973628D6E2FD}" type="pres">
      <dgm:prSet presAssocID="{DEE18C14-818A-45E3-98B7-D45DCD83FAC7}" presName="spacing" presStyleCnt="0"/>
      <dgm:spPr/>
    </dgm:pt>
    <dgm:pt modelId="{3097E04C-AADE-4DAA-8EFF-D4F89BB571F2}" type="pres">
      <dgm:prSet presAssocID="{F4D7AEBE-4076-40E3-8DED-31F83B17EBC6}" presName="composite" presStyleCnt="0"/>
      <dgm:spPr/>
    </dgm:pt>
    <dgm:pt modelId="{DF800355-B119-4CB9-AAEF-0AA264612F7B}" type="pres">
      <dgm:prSet presAssocID="{F4D7AEBE-4076-40E3-8DED-31F83B17EBC6}" presName="imgShp" presStyleLbl="fgImgPlace1" presStyleIdx="5" presStyleCnt="13"/>
      <dgm:spPr>
        <a:blipFill dpi="0" rotWithShape="1"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302" t="-264" r="12302" b="-264"/>
          </a:stretch>
        </a:blipFill>
      </dgm:spPr>
    </dgm:pt>
    <dgm:pt modelId="{0DDE4A5E-5C86-4B18-8D23-419AFBAD5528}" type="pres">
      <dgm:prSet presAssocID="{F4D7AEBE-4076-40E3-8DED-31F83B17EBC6}" presName="txShp" presStyleLbl="node1" presStyleIdx="5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2784A71-A822-4955-B525-294F02324A78}" type="pres">
      <dgm:prSet presAssocID="{6A543F70-F6AD-435B-ADD0-918FCAF1ABD8}" presName="spacing" presStyleCnt="0"/>
      <dgm:spPr/>
    </dgm:pt>
    <dgm:pt modelId="{92015E71-88F0-4E16-896A-B2ACC1A73F0A}" type="pres">
      <dgm:prSet presAssocID="{95C91A22-983E-45B5-850E-8EFB56FA5AED}" presName="composite" presStyleCnt="0"/>
      <dgm:spPr/>
    </dgm:pt>
    <dgm:pt modelId="{AFB0FF88-2E44-4C77-939A-A57B638EC0A4}" type="pres">
      <dgm:prSet presAssocID="{95C91A22-983E-45B5-850E-8EFB56FA5AED}" presName="imgShp" presStyleLbl="fgImgPlace1" presStyleIdx="6" presStyleCnt="13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" r="-5000"/>
          </a:stretch>
        </a:blipFill>
      </dgm:spPr>
    </dgm:pt>
    <dgm:pt modelId="{0B1DFD52-7AEC-4826-889F-DEA7090E0158}" type="pres">
      <dgm:prSet presAssocID="{95C91A22-983E-45B5-850E-8EFB56FA5AED}" presName="txShp" presStyleLbl="node1" presStyleIdx="6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A57D097-FA48-48F8-AA9B-3E7A65EBEF58}" type="pres">
      <dgm:prSet presAssocID="{172E82F6-7C4D-4AD6-A7F1-F47092693CED}" presName="spacing" presStyleCnt="0"/>
      <dgm:spPr/>
    </dgm:pt>
    <dgm:pt modelId="{E846EAE6-AE7D-4408-B684-9E9016CFF3EC}" type="pres">
      <dgm:prSet presAssocID="{F1619BEB-0879-4E8A-8FA0-CA87DEE5A2D3}" presName="composite" presStyleCnt="0"/>
      <dgm:spPr/>
    </dgm:pt>
    <dgm:pt modelId="{BF2FB44C-EC39-4140-B0C5-DF13396784B6}" type="pres">
      <dgm:prSet presAssocID="{F1619BEB-0879-4E8A-8FA0-CA87DEE5A2D3}" presName="imgShp" presStyleLbl="fgImgPlace1" presStyleIdx="7" presStyleCnt="13"/>
      <dgm:spPr>
        <a:blipFill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" r="-5000"/>
          </a:stretch>
        </a:blipFill>
      </dgm:spPr>
    </dgm:pt>
    <dgm:pt modelId="{438B23FB-3AF2-4783-BB6D-4C6F558791CB}" type="pres">
      <dgm:prSet presAssocID="{F1619BEB-0879-4E8A-8FA0-CA87DEE5A2D3}" presName="txShp" presStyleLbl="node1" presStyleIdx="7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F05B24C-2644-46F3-9358-5B1A9D9A8424}" type="pres">
      <dgm:prSet presAssocID="{729EBD4A-9BFE-4033-8A2A-DFEA2BBA091D}" presName="spacing" presStyleCnt="0"/>
      <dgm:spPr/>
    </dgm:pt>
    <dgm:pt modelId="{F925BE97-659C-4F81-83FB-9DFB8A94DA17}" type="pres">
      <dgm:prSet presAssocID="{A512F16A-CC0F-4A3B-8B92-A02AB90EC8F5}" presName="composite" presStyleCnt="0"/>
      <dgm:spPr/>
    </dgm:pt>
    <dgm:pt modelId="{86895835-DD40-4B0F-8944-BEB8223CABB0}" type="pres">
      <dgm:prSet presAssocID="{A512F16A-CC0F-4A3B-8B92-A02AB90EC8F5}" presName="imgShp" presStyleLbl="fgImgPlace1" presStyleIdx="8" presStyleCnt="13"/>
      <dgm:spPr>
        <a:blipFill dpi="0" rotWithShape="1"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302" t="-264" r="12302" b="-264"/>
          </a:stretch>
        </a:blipFill>
      </dgm:spPr>
    </dgm:pt>
    <dgm:pt modelId="{2D7B91B6-36A6-405A-9177-C2E4CE78CE5C}" type="pres">
      <dgm:prSet presAssocID="{A512F16A-CC0F-4A3B-8B92-A02AB90EC8F5}" presName="txShp" presStyleLbl="node1" presStyleIdx="8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AC163A9-EECA-40FF-94B9-851BE290485E}" type="pres">
      <dgm:prSet presAssocID="{2ECFBCF1-5057-44DC-96E1-8D64B5F43683}" presName="spacing" presStyleCnt="0"/>
      <dgm:spPr/>
    </dgm:pt>
    <dgm:pt modelId="{DE564184-635B-471F-AB0C-5AF9FDD2443E}" type="pres">
      <dgm:prSet presAssocID="{9D62803E-284E-4626-AB70-8EE47EC3A3AE}" presName="composite" presStyleCnt="0"/>
      <dgm:spPr/>
    </dgm:pt>
    <dgm:pt modelId="{F98CF2EE-31CC-4412-9548-C69D651DE69A}" type="pres">
      <dgm:prSet presAssocID="{9D62803E-284E-4626-AB70-8EE47EC3A3AE}" presName="imgShp" presStyleLbl="fgImgPlace1" presStyleIdx="9" presStyleCnt="13"/>
      <dgm:spPr>
        <a:blipFill dpi="0" rotWithShape="1">
          <a:blip xmlns:r="http://schemas.openxmlformats.org/officeDocument/2006/relationships"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302" t="6019" r="12302" b="6019"/>
          </a:stretch>
        </a:blipFill>
      </dgm:spPr>
    </dgm:pt>
    <dgm:pt modelId="{A83DCC11-09A4-4E35-9C37-46BA70827996}" type="pres">
      <dgm:prSet presAssocID="{9D62803E-284E-4626-AB70-8EE47EC3A3AE}" presName="txShp" presStyleLbl="node1" presStyleIdx="9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E954B89-9EB6-4679-96C4-18306A4C783B}" type="pres">
      <dgm:prSet presAssocID="{BC59519F-CC30-4E64-B7AF-D00CA0A2EC69}" presName="spacing" presStyleCnt="0"/>
      <dgm:spPr/>
    </dgm:pt>
    <dgm:pt modelId="{BD414FF3-F61C-47B8-AC36-8AD8F08A84B7}" type="pres">
      <dgm:prSet presAssocID="{C4BCBE33-7942-4DD9-A3C9-0BCE5F5664D5}" presName="composite" presStyleCnt="0"/>
      <dgm:spPr/>
    </dgm:pt>
    <dgm:pt modelId="{15E13AE7-9203-4C6B-B0DD-50B61110A529}" type="pres">
      <dgm:prSet presAssocID="{C4BCBE33-7942-4DD9-A3C9-0BCE5F5664D5}" presName="imgShp" presStyleLbl="fgImgPlace1" presStyleIdx="10" presStyleCnt="13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6A56BEEA-8395-4252-BA2D-91410545BC76}" type="pres">
      <dgm:prSet presAssocID="{C4BCBE33-7942-4DD9-A3C9-0BCE5F5664D5}" presName="txShp" presStyleLbl="node1" presStyleIdx="10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DBE961C-7238-48A7-AD45-82A5DBFEF08E}" type="pres">
      <dgm:prSet presAssocID="{F2061AF9-C5C7-4C57-8D9F-0159985A8058}" presName="spacing" presStyleCnt="0"/>
      <dgm:spPr/>
    </dgm:pt>
    <dgm:pt modelId="{8CC96E76-2A32-4305-9583-1C0A62C14A6D}" type="pres">
      <dgm:prSet presAssocID="{10B1D88A-CFF8-4850-B00E-6B370D34EFAA}" presName="composite" presStyleCnt="0"/>
      <dgm:spPr/>
    </dgm:pt>
    <dgm:pt modelId="{D17FC804-D7AC-40FF-B640-B47C5B150C24}" type="pres">
      <dgm:prSet presAssocID="{10B1D88A-CFF8-4850-B00E-6B370D34EFAA}" presName="imgShp" presStyleLbl="fgImgPlace1" presStyleIdx="11" presStyleCnt="13"/>
      <dgm:spPr>
        <a:blipFill dpi="0" rotWithShape="1">
          <a:blip xmlns:r="http://schemas.openxmlformats.org/officeDocument/2006/relationships"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64" t="-264" r="-264" b="-264"/>
          </a:stretch>
        </a:blipFill>
      </dgm:spPr>
    </dgm:pt>
    <dgm:pt modelId="{4E4AC8FE-FBB1-47AC-8C85-340E51DF06AE}" type="pres">
      <dgm:prSet presAssocID="{10B1D88A-CFF8-4850-B00E-6B370D34EFAA}" presName="txShp" presStyleLbl="node1" presStyleIdx="11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C90171B-37BC-442C-9854-11C11F10A8C4}" type="pres">
      <dgm:prSet presAssocID="{38704378-2D91-46B6-92D6-98C0FD101075}" presName="spacing" presStyleCnt="0"/>
      <dgm:spPr/>
    </dgm:pt>
    <dgm:pt modelId="{9FB510A0-3116-4ECC-96BD-9BDBA71F8CF0}" type="pres">
      <dgm:prSet presAssocID="{094EF855-E5D1-41A7-8422-B9527D42FFD2}" presName="composite" presStyleCnt="0"/>
      <dgm:spPr/>
    </dgm:pt>
    <dgm:pt modelId="{07E42DE8-1661-4CE7-99F0-65BAD0073E6C}" type="pres">
      <dgm:prSet presAssocID="{094EF855-E5D1-41A7-8422-B9527D42FFD2}" presName="imgShp" presStyleLbl="fgImgPlace1" presStyleIdx="12" presStyleCnt="13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</dgm:pt>
    <dgm:pt modelId="{EBB6C313-BC11-4AEE-B953-0FD35A787FDD}" type="pres">
      <dgm:prSet presAssocID="{094EF855-E5D1-41A7-8422-B9527D42FFD2}" presName="txShp" presStyleLbl="node1" presStyleIdx="12" presStyleCnt="1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6199D9AB-BDB4-434F-BDE6-DDDFF64CACD1}" srcId="{0ACBA789-0782-4628-ACA5-D2EB66293EDB}" destId="{35797904-E6FD-4D67-80DA-85D3252BF03C}" srcOrd="0" destOrd="0" parTransId="{7B1D2CD1-49F3-4088-93C1-E05385FC83EA}" sibTransId="{05C3C093-DE6E-49F9-B20E-3677F50365C8}"/>
    <dgm:cxn modelId="{BCD4704F-9957-45F7-86CF-1CD42BD97A95}" type="presOf" srcId="{A512F16A-CC0F-4A3B-8B92-A02AB90EC8F5}" destId="{2D7B91B6-36A6-405A-9177-C2E4CE78CE5C}" srcOrd="0" destOrd="0" presId="urn:microsoft.com/office/officeart/2005/8/layout/vList3"/>
    <dgm:cxn modelId="{12AECCD6-B51F-496F-8257-7890AE283176}" srcId="{0ACBA789-0782-4628-ACA5-D2EB66293EDB}" destId="{F1619BEB-0879-4E8A-8FA0-CA87DEE5A2D3}" srcOrd="7" destOrd="0" parTransId="{D8A40A36-3889-43BF-8A2C-4D1BB9923ECC}" sibTransId="{729EBD4A-9BFE-4033-8A2A-DFEA2BBA091D}"/>
    <dgm:cxn modelId="{AE3B3A06-28C8-48BC-AF13-033A6FE33DA0}" type="presOf" srcId="{0ACBA789-0782-4628-ACA5-D2EB66293EDB}" destId="{D2AC9C53-006C-4C94-9B44-06C0273F517B}" srcOrd="0" destOrd="0" presId="urn:microsoft.com/office/officeart/2005/8/layout/vList3"/>
    <dgm:cxn modelId="{C6AA1DC1-7B19-48F1-AA0B-E92AD15E85EE}" srcId="{0ACBA789-0782-4628-ACA5-D2EB66293EDB}" destId="{10B1D88A-CFF8-4850-B00E-6B370D34EFAA}" srcOrd="11" destOrd="0" parTransId="{E6732263-7DC7-4B26-AB88-9AB3681EC809}" sibTransId="{38704378-2D91-46B6-92D6-98C0FD101075}"/>
    <dgm:cxn modelId="{274F8A44-C368-4025-B69E-F6A5E7B315D3}" srcId="{0ACBA789-0782-4628-ACA5-D2EB66293EDB}" destId="{094EF855-E5D1-41A7-8422-B9527D42FFD2}" srcOrd="12" destOrd="0" parTransId="{B8D6DFD4-256B-4C03-A0D0-7BD0E95A0DFE}" sibTransId="{F5F34B76-09CE-4AA6-8556-FB56BBCE0BE9}"/>
    <dgm:cxn modelId="{1C98524A-774D-4A61-97CE-3DAF3874FAB6}" type="presOf" srcId="{094EF855-E5D1-41A7-8422-B9527D42FFD2}" destId="{EBB6C313-BC11-4AEE-B953-0FD35A787FDD}" srcOrd="0" destOrd="0" presId="urn:microsoft.com/office/officeart/2005/8/layout/vList3"/>
    <dgm:cxn modelId="{F5EF542C-BC8B-4D4A-AC5C-BE6A76D01524}" type="presOf" srcId="{97F980ED-2D50-43F0-AF03-BBD8497A2AB0}" destId="{2D7EFFC3-2FEB-460A-87C9-84D44D380CE6}" srcOrd="0" destOrd="0" presId="urn:microsoft.com/office/officeart/2005/8/layout/vList3"/>
    <dgm:cxn modelId="{B7B4E9E8-8E2A-4386-A948-09CA150BFE4D}" type="presOf" srcId="{29AF0C34-D4A8-4748-AA7F-39970382916D}" destId="{EF19CE7E-97C0-4C0F-BBD8-EB10A2D7129C}" srcOrd="0" destOrd="0" presId="urn:microsoft.com/office/officeart/2005/8/layout/vList3"/>
    <dgm:cxn modelId="{E365168C-2321-46E8-8D7F-1B2D7D6B4DE0}" srcId="{0ACBA789-0782-4628-ACA5-D2EB66293EDB}" destId="{C4BCBE33-7942-4DD9-A3C9-0BCE5F5664D5}" srcOrd="10" destOrd="0" parTransId="{3AE55BF2-29BB-4731-84CC-25C195B80685}" sibTransId="{F2061AF9-C5C7-4C57-8D9F-0159985A8058}"/>
    <dgm:cxn modelId="{61A0B18B-4659-43C2-8D32-6886345B284A}" srcId="{0ACBA789-0782-4628-ACA5-D2EB66293EDB}" destId="{070D9E46-D31A-4128-A33F-1A99B2113356}" srcOrd="4" destOrd="0" parTransId="{18C6D3B5-AEFB-42FE-9071-A67F43457E11}" sibTransId="{DEE18C14-818A-45E3-98B7-D45DCD83FAC7}"/>
    <dgm:cxn modelId="{731C4749-6645-48A7-9818-81E510C3F3AF}" srcId="{0ACBA789-0782-4628-ACA5-D2EB66293EDB}" destId="{29AF0C34-D4A8-4748-AA7F-39970382916D}" srcOrd="2" destOrd="0" parTransId="{B9EFBAF3-2424-4A4E-A295-6564880C6784}" sibTransId="{305986B1-E7FC-443C-9621-DC12E5D7BBE9}"/>
    <dgm:cxn modelId="{15D7BCA4-1111-4F8D-BD76-B01FF47B17A8}" srcId="{0ACBA789-0782-4628-ACA5-D2EB66293EDB}" destId="{A512F16A-CC0F-4A3B-8B92-A02AB90EC8F5}" srcOrd="8" destOrd="0" parTransId="{9626C434-126F-4AE1-972D-BDE0D34FAB4F}" sibTransId="{2ECFBCF1-5057-44DC-96E1-8D64B5F43683}"/>
    <dgm:cxn modelId="{BA60D552-A222-4320-B091-30AEC027C69B}" type="presOf" srcId="{99A76D28-CD83-4B48-838B-178DF491DACC}" destId="{8E120CC3-706D-4788-9428-84655D1793F9}" srcOrd="0" destOrd="0" presId="urn:microsoft.com/office/officeart/2005/8/layout/vList3"/>
    <dgm:cxn modelId="{9BFF9595-C305-49BF-8B14-958E390A3458}" srcId="{0ACBA789-0782-4628-ACA5-D2EB66293EDB}" destId="{95C91A22-983E-45B5-850E-8EFB56FA5AED}" srcOrd="6" destOrd="0" parTransId="{A935C53A-16C2-4447-A350-6DE07C10EC7F}" sibTransId="{172E82F6-7C4D-4AD6-A7F1-F47092693CED}"/>
    <dgm:cxn modelId="{ED7B3A3C-9B45-4944-99D2-9BDF258A078B}" type="presOf" srcId="{95C91A22-983E-45B5-850E-8EFB56FA5AED}" destId="{0B1DFD52-7AEC-4826-889F-DEA7090E0158}" srcOrd="0" destOrd="0" presId="urn:microsoft.com/office/officeart/2005/8/layout/vList3"/>
    <dgm:cxn modelId="{6BD5BF7D-1378-44D8-B71C-E963336B90F0}" srcId="{0ACBA789-0782-4628-ACA5-D2EB66293EDB}" destId="{99A76D28-CD83-4B48-838B-178DF491DACC}" srcOrd="3" destOrd="0" parTransId="{32512190-23D3-429D-B119-A20180A225A0}" sibTransId="{2F03C2A1-6D9B-4DDD-836C-B21F1B0FEA81}"/>
    <dgm:cxn modelId="{AB4D8C03-0448-48A3-BA7D-73D8E33050ED}" type="presOf" srcId="{F4D7AEBE-4076-40E3-8DED-31F83B17EBC6}" destId="{0DDE4A5E-5C86-4B18-8D23-419AFBAD5528}" srcOrd="0" destOrd="0" presId="urn:microsoft.com/office/officeart/2005/8/layout/vList3"/>
    <dgm:cxn modelId="{04102B31-76A2-4687-80F3-A9E18041FDB2}" type="presOf" srcId="{9D62803E-284E-4626-AB70-8EE47EC3A3AE}" destId="{A83DCC11-09A4-4E35-9C37-46BA70827996}" srcOrd="0" destOrd="0" presId="urn:microsoft.com/office/officeart/2005/8/layout/vList3"/>
    <dgm:cxn modelId="{ECF8779F-65B2-4497-B597-093E96CC726F}" type="presOf" srcId="{070D9E46-D31A-4128-A33F-1A99B2113356}" destId="{35A70C11-AB86-4092-8426-ED3C5667EB30}" srcOrd="0" destOrd="0" presId="urn:microsoft.com/office/officeart/2005/8/layout/vList3"/>
    <dgm:cxn modelId="{15D61995-77DF-4B7E-81EB-C8F09D5DA999}" type="presOf" srcId="{F1619BEB-0879-4E8A-8FA0-CA87DEE5A2D3}" destId="{438B23FB-3AF2-4783-BB6D-4C6F558791CB}" srcOrd="0" destOrd="0" presId="urn:microsoft.com/office/officeart/2005/8/layout/vList3"/>
    <dgm:cxn modelId="{A8F0FF08-2158-417E-84D4-75AB9AEF8CAF}" srcId="{0ACBA789-0782-4628-ACA5-D2EB66293EDB}" destId="{9D62803E-284E-4626-AB70-8EE47EC3A3AE}" srcOrd="9" destOrd="0" parTransId="{203ACF31-6774-49FD-9594-306B5C9D206B}" sibTransId="{BC59519F-CC30-4E64-B7AF-D00CA0A2EC69}"/>
    <dgm:cxn modelId="{A658C894-2298-4EE1-AB64-4CBC6BFDDB1E}" srcId="{0ACBA789-0782-4628-ACA5-D2EB66293EDB}" destId="{F4D7AEBE-4076-40E3-8DED-31F83B17EBC6}" srcOrd="5" destOrd="0" parTransId="{C12A3191-56C5-4F5D-8558-528F05C3B531}" sibTransId="{6A543F70-F6AD-435B-ADD0-918FCAF1ABD8}"/>
    <dgm:cxn modelId="{52883D13-9436-4217-8C23-EFE474C551ED}" srcId="{0ACBA789-0782-4628-ACA5-D2EB66293EDB}" destId="{97F980ED-2D50-43F0-AF03-BBD8497A2AB0}" srcOrd="1" destOrd="0" parTransId="{74F5509F-8A0A-4A27-B1F0-F4995F5B4906}" sibTransId="{100E9441-DCA6-42D3-AD3A-0CACAF5647E7}"/>
    <dgm:cxn modelId="{32F09B61-B340-400A-AFBE-FB803EFAD7D6}" type="presOf" srcId="{C4BCBE33-7942-4DD9-A3C9-0BCE5F5664D5}" destId="{6A56BEEA-8395-4252-BA2D-91410545BC76}" srcOrd="0" destOrd="0" presId="urn:microsoft.com/office/officeart/2005/8/layout/vList3"/>
    <dgm:cxn modelId="{749C8518-430C-4757-9B73-18D579EA21C7}" type="presOf" srcId="{35797904-E6FD-4D67-80DA-85D3252BF03C}" destId="{5BD236C9-FF12-4C0E-BDF3-68C8E373B1B5}" srcOrd="0" destOrd="0" presId="urn:microsoft.com/office/officeart/2005/8/layout/vList3"/>
    <dgm:cxn modelId="{863EFD98-CE21-430F-A32F-26AD7A509C9F}" type="presOf" srcId="{10B1D88A-CFF8-4850-B00E-6B370D34EFAA}" destId="{4E4AC8FE-FBB1-47AC-8C85-340E51DF06AE}" srcOrd="0" destOrd="0" presId="urn:microsoft.com/office/officeart/2005/8/layout/vList3"/>
    <dgm:cxn modelId="{6D453B33-A504-4106-BAA2-D80D21405F25}" type="presParOf" srcId="{D2AC9C53-006C-4C94-9B44-06C0273F517B}" destId="{B2357A36-4425-44D5-A7FE-212BE73139E1}" srcOrd="0" destOrd="0" presId="urn:microsoft.com/office/officeart/2005/8/layout/vList3"/>
    <dgm:cxn modelId="{815B9F9D-45A7-48DD-BF55-0CA7E7FFECE2}" type="presParOf" srcId="{B2357A36-4425-44D5-A7FE-212BE73139E1}" destId="{7EBA2874-D103-4D8B-BE8D-96919C7CE98F}" srcOrd="0" destOrd="0" presId="urn:microsoft.com/office/officeart/2005/8/layout/vList3"/>
    <dgm:cxn modelId="{ED8F6A92-E195-40CE-A601-07AB05A1010E}" type="presParOf" srcId="{B2357A36-4425-44D5-A7FE-212BE73139E1}" destId="{5BD236C9-FF12-4C0E-BDF3-68C8E373B1B5}" srcOrd="1" destOrd="0" presId="urn:microsoft.com/office/officeart/2005/8/layout/vList3"/>
    <dgm:cxn modelId="{18B9410A-EF10-47A6-92A0-2737DFCA7462}" type="presParOf" srcId="{D2AC9C53-006C-4C94-9B44-06C0273F517B}" destId="{AD6EAF19-C75A-4D35-B354-28ED0F80F76E}" srcOrd="1" destOrd="0" presId="urn:microsoft.com/office/officeart/2005/8/layout/vList3"/>
    <dgm:cxn modelId="{8D5E5608-5A31-4C47-80EF-F87E13791755}" type="presParOf" srcId="{D2AC9C53-006C-4C94-9B44-06C0273F517B}" destId="{8CAE7FC4-3ED1-4261-B593-F3BC67E3D0C4}" srcOrd="2" destOrd="0" presId="urn:microsoft.com/office/officeart/2005/8/layout/vList3"/>
    <dgm:cxn modelId="{E3A6D541-D778-4A5B-885F-0B4C60FF0B16}" type="presParOf" srcId="{8CAE7FC4-3ED1-4261-B593-F3BC67E3D0C4}" destId="{EA5A0AC3-1A2C-4C5E-961C-96808518D633}" srcOrd="0" destOrd="0" presId="urn:microsoft.com/office/officeart/2005/8/layout/vList3"/>
    <dgm:cxn modelId="{0887CBA5-1DE5-4F64-A1AC-D9DA135FB705}" type="presParOf" srcId="{8CAE7FC4-3ED1-4261-B593-F3BC67E3D0C4}" destId="{2D7EFFC3-2FEB-460A-87C9-84D44D380CE6}" srcOrd="1" destOrd="0" presId="urn:microsoft.com/office/officeart/2005/8/layout/vList3"/>
    <dgm:cxn modelId="{45E95C1A-283E-4B03-A6C8-C5054A70F56D}" type="presParOf" srcId="{D2AC9C53-006C-4C94-9B44-06C0273F517B}" destId="{CFD4C1BB-E4DA-4DEC-87D9-52DAEA653FC8}" srcOrd="3" destOrd="0" presId="urn:microsoft.com/office/officeart/2005/8/layout/vList3"/>
    <dgm:cxn modelId="{FF1388E1-F4FB-4A09-8697-B61777704612}" type="presParOf" srcId="{D2AC9C53-006C-4C94-9B44-06C0273F517B}" destId="{5C55B996-D97D-4A32-8646-D74D1D021DDD}" srcOrd="4" destOrd="0" presId="urn:microsoft.com/office/officeart/2005/8/layout/vList3"/>
    <dgm:cxn modelId="{20AFD54F-1DCB-4EA6-9354-D4375F8FBDB4}" type="presParOf" srcId="{5C55B996-D97D-4A32-8646-D74D1D021DDD}" destId="{801FD5E3-DA1B-4AF8-AEAE-2D5FEEE62849}" srcOrd="0" destOrd="0" presId="urn:microsoft.com/office/officeart/2005/8/layout/vList3"/>
    <dgm:cxn modelId="{005D19E9-1974-4DD2-B036-7E86BE6B0B54}" type="presParOf" srcId="{5C55B996-D97D-4A32-8646-D74D1D021DDD}" destId="{EF19CE7E-97C0-4C0F-BBD8-EB10A2D7129C}" srcOrd="1" destOrd="0" presId="urn:microsoft.com/office/officeart/2005/8/layout/vList3"/>
    <dgm:cxn modelId="{F309FF96-DC93-4A05-B10F-AE410FABBB43}" type="presParOf" srcId="{D2AC9C53-006C-4C94-9B44-06C0273F517B}" destId="{7B389C6D-E846-48AF-ABA0-D7C08E5D2632}" srcOrd="5" destOrd="0" presId="urn:microsoft.com/office/officeart/2005/8/layout/vList3"/>
    <dgm:cxn modelId="{18E81106-0116-4A5F-AAFD-6E76E2D38FC8}" type="presParOf" srcId="{D2AC9C53-006C-4C94-9B44-06C0273F517B}" destId="{C6DB7A29-21AE-47A6-9F46-AE70A73BF624}" srcOrd="6" destOrd="0" presId="urn:microsoft.com/office/officeart/2005/8/layout/vList3"/>
    <dgm:cxn modelId="{68C0D5A9-CE7E-4A0A-90AE-6607FD83CFBE}" type="presParOf" srcId="{C6DB7A29-21AE-47A6-9F46-AE70A73BF624}" destId="{3C7DAA42-FBE4-4DEC-A979-B0BF9E05F701}" srcOrd="0" destOrd="0" presId="urn:microsoft.com/office/officeart/2005/8/layout/vList3"/>
    <dgm:cxn modelId="{B9EDC5A5-D9C8-4199-AE66-3408E77B6589}" type="presParOf" srcId="{C6DB7A29-21AE-47A6-9F46-AE70A73BF624}" destId="{8E120CC3-706D-4788-9428-84655D1793F9}" srcOrd="1" destOrd="0" presId="urn:microsoft.com/office/officeart/2005/8/layout/vList3"/>
    <dgm:cxn modelId="{AAC2C744-8044-4402-8728-22CD6498E152}" type="presParOf" srcId="{D2AC9C53-006C-4C94-9B44-06C0273F517B}" destId="{72EA6E58-3EFB-4684-AC0E-CF43ACBE6F15}" srcOrd="7" destOrd="0" presId="urn:microsoft.com/office/officeart/2005/8/layout/vList3"/>
    <dgm:cxn modelId="{06E911D4-CC80-4036-9F02-C3C54F9CBF7B}" type="presParOf" srcId="{D2AC9C53-006C-4C94-9B44-06C0273F517B}" destId="{B62FD249-FB95-4050-A063-DA73BFE4C993}" srcOrd="8" destOrd="0" presId="urn:microsoft.com/office/officeart/2005/8/layout/vList3"/>
    <dgm:cxn modelId="{00225AEB-6C38-4580-AC60-A79570D45B1A}" type="presParOf" srcId="{B62FD249-FB95-4050-A063-DA73BFE4C993}" destId="{5F5EDB30-E60B-4093-BC28-E971BF107CE7}" srcOrd="0" destOrd="0" presId="urn:microsoft.com/office/officeart/2005/8/layout/vList3"/>
    <dgm:cxn modelId="{09CB414B-1B0E-4186-9FB1-99513DF5BE11}" type="presParOf" srcId="{B62FD249-FB95-4050-A063-DA73BFE4C993}" destId="{35A70C11-AB86-4092-8426-ED3C5667EB30}" srcOrd="1" destOrd="0" presId="urn:microsoft.com/office/officeart/2005/8/layout/vList3"/>
    <dgm:cxn modelId="{5D123B4D-84A3-44E9-9D60-3BE4C2165B8B}" type="presParOf" srcId="{D2AC9C53-006C-4C94-9B44-06C0273F517B}" destId="{3AA54999-43C0-41CD-AA77-973628D6E2FD}" srcOrd="9" destOrd="0" presId="urn:microsoft.com/office/officeart/2005/8/layout/vList3"/>
    <dgm:cxn modelId="{266126DF-8F9A-4A6E-80A0-9C643E3E7551}" type="presParOf" srcId="{D2AC9C53-006C-4C94-9B44-06C0273F517B}" destId="{3097E04C-AADE-4DAA-8EFF-D4F89BB571F2}" srcOrd="10" destOrd="0" presId="urn:microsoft.com/office/officeart/2005/8/layout/vList3"/>
    <dgm:cxn modelId="{14D47017-1B2A-4160-80B0-759A42A6B835}" type="presParOf" srcId="{3097E04C-AADE-4DAA-8EFF-D4F89BB571F2}" destId="{DF800355-B119-4CB9-AAEF-0AA264612F7B}" srcOrd="0" destOrd="0" presId="urn:microsoft.com/office/officeart/2005/8/layout/vList3"/>
    <dgm:cxn modelId="{1DEDCA72-B787-44C5-91C9-FED02EE203B5}" type="presParOf" srcId="{3097E04C-AADE-4DAA-8EFF-D4F89BB571F2}" destId="{0DDE4A5E-5C86-4B18-8D23-419AFBAD5528}" srcOrd="1" destOrd="0" presId="urn:microsoft.com/office/officeart/2005/8/layout/vList3"/>
    <dgm:cxn modelId="{DD7221A3-A604-400F-86D9-4371230F8574}" type="presParOf" srcId="{D2AC9C53-006C-4C94-9B44-06C0273F517B}" destId="{E2784A71-A822-4955-B525-294F02324A78}" srcOrd="11" destOrd="0" presId="urn:microsoft.com/office/officeart/2005/8/layout/vList3"/>
    <dgm:cxn modelId="{FF3788D7-115F-4A95-8321-C4EEE0479FDE}" type="presParOf" srcId="{D2AC9C53-006C-4C94-9B44-06C0273F517B}" destId="{92015E71-88F0-4E16-896A-B2ACC1A73F0A}" srcOrd="12" destOrd="0" presId="urn:microsoft.com/office/officeart/2005/8/layout/vList3"/>
    <dgm:cxn modelId="{2C48A6F4-C1F9-4696-BF6D-DCF827D0631A}" type="presParOf" srcId="{92015E71-88F0-4E16-896A-B2ACC1A73F0A}" destId="{AFB0FF88-2E44-4C77-939A-A57B638EC0A4}" srcOrd="0" destOrd="0" presId="urn:microsoft.com/office/officeart/2005/8/layout/vList3"/>
    <dgm:cxn modelId="{08A021AF-72C8-4FFF-AC4F-04B9AA4A06D2}" type="presParOf" srcId="{92015E71-88F0-4E16-896A-B2ACC1A73F0A}" destId="{0B1DFD52-7AEC-4826-889F-DEA7090E0158}" srcOrd="1" destOrd="0" presId="urn:microsoft.com/office/officeart/2005/8/layout/vList3"/>
    <dgm:cxn modelId="{4B6E3827-F8F2-4FFD-909A-46746D7E0E87}" type="presParOf" srcId="{D2AC9C53-006C-4C94-9B44-06C0273F517B}" destId="{EA57D097-FA48-48F8-AA9B-3E7A65EBEF58}" srcOrd="13" destOrd="0" presId="urn:microsoft.com/office/officeart/2005/8/layout/vList3"/>
    <dgm:cxn modelId="{ABD9039C-A2B4-4BC6-BA95-243BF4BD467B}" type="presParOf" srcId="{D2AC9C53-006C-4C94-9B44-06C0273F517B}" destId="{E846EAE6-AE7D-4408-B684-9E9016CFF3EC}" srcOrd="14" destOrd="0" presId="urn:microsoft.com/office/officeart/2005/8/layout/vList3"/>
    <dgm:cxn modelId="{1E8390CD-2018-4EFA-929F-523DE7CAB272}" type="presParOf" srcId="{E846EAE6-AE7D-4408-B684-9E9016CFF3EC}" destId="{BF2FB44C-EC39-4140-B0C5-DF13396784B6}" srcOrd="0" destOrd="0" presId="urn:microsoft.com/office/officeart/2005/8/layout/vList3"/>
    <dgm:cxn modelId="{6F22C382-10A4-4FF0-9AC8-86BAE9E4A20F}" type="presParOf" srcId="{E846EAE6-AE7D-4408-B684-9E9016CFF3EC}" destId="{438B23FB-3AF2-4783-BB6D-4C6F558791CB}" srcOrd="1" destOrd="0" presId="urn:microsoft.com/office/officeart/2005/8/layout/vList3"/>
    <dgm:cxn modelId="{0EEDADBB-3275-4AA9-A663-CCE07BA64CB2}" type="presParOf" srcId="{D2AC9C53-006C-4C94-9B44-06C0273F517B}" destId="{EF05B24C-2644-46F3-9358-5B1A9D9A8424}" srcOrd="15" destOrd="0" presId="urn:microsoft.com/office/officeart/2005/8/layout/vList3"/>
    <dgm:cxn modelId="{A1302977-0CF1-41AE-8431-7A0E411B7A60}" type="presParOf" srcId="{D2AC9C53-006C-4C94-9B44-06C0273F517B}" destId="{F925BE97-659C-4F81-83FB-9DFB8A94DA17}" srcOrd="16" destOrd="0" presId="urn:microsoft.com/office/officeart/2005/8/layout/vList3"/>
    <dgm:cxn modelId="{6B748C0D-B0D2-4CAC-B5CC-B4A64213C572}" type="presParOf" srcId="{F925BE97-659C-4F81-83FB-9DFB8A94DA17}" destId="{86895835-DD40-4B0F-8944-BEB8223CABB0}" srcOrd="0" destOrd="0" presId="urn:microsoft.com/office/officeart/2005/8/layout/vList3"/>
    <dgm:cxn modelId="{47B6F99A-9FD1-4D35-A5B9-79233BFD4E74}" type="presParOf" srcId="{F925BE97-659C-4F81-83FB-9DFB8A94DA17}" destId="{2D7B91B6-36A6-405A-9177-C2E4CE78CE5C}" srcOrd="1" destOrd="0" presId="urn:microsoft.com/office/officeart/2005/8/layout/vList3"/>
    <dgm:cxn modelId="{9AC940D3-D71F-4A16-BE90-EF3D49775FD1}" type="presParOf" srcId="{D2AC9C53-006C-4C94-9B44-06C0273F517B}" destId="{1AC163A9-EECA-40FF-94B9-851BE290485E}" srcOrd="17" destOrd="0" presId="urn:microsoft.com/office/officeart/2005/8/layout/vList3"/>
    <dgm:cxn modelId="{752C495D-6BE0-4F51-9ABC-4A83E59622E8}" type="presParOf" srcId="{D2AC9C53-006C-4C94-9B44-06C0273F517B}" destId="{DE564184-635B-471F-AB0C-5AF9FDD2443E}" srcOrd="18" destOrd="0" presId="urn:microsoft.com/office/officeart/2005/8/layout/vList3"/>
    <dgm:cxn modelId="{C78369FA-594B-4D36-A42F-6807EF13EEFA}" type="presParOf" srcId="{DE564184-635B-471F-AB0C-5AF9FDD2443E}" destId="{F98CF2EE-31CC-4412-9548-C69D651DE69A}" srcOrd="0" destOrd="0" presId="urn:microsoft.com/office/officeart/2005/8/layout/vList3"/>
    <dgm:cxn modelId="{5A1F53EE-4B9E-4375-A2BB-F8024C248CF7}" type="presParOf" srcId="{DE564184-635B-471F-AB0C-5AF9FDD2443E}" destId="{A83DCC11-09A4-4E35-9C37-46BA70827996}" srcOrd="1" destOrd="0" presId="urn:microsoft.com/office/officeart/2005/8/layout/vList3"/>
    <dgm:cxn modelId="{18D5CA1C-F2BA-4FB1-A57D-E70E6C79E80B}" type="presParOf" srcId="{D2AC9C53-006C-4C94-9B44-06C0273F517B}" destId="{BE954B89-9EB6-4679-96C4-18306A4C783B}" srcOrd="19" destOrd="0" presId="urn:microsoft.com/office/officeart/2005/8/layout/vList3"/>
    <dgm:cxn modelId="{17FCB06D-184D-451B-868A-190828880B37}" type="presParOf" srcId="{D2AC9C53-006C-4C94-9B44-06C0273F517B}" destId="{BD414FF3-F61C-47B8-AC36-8AD8F08A84B7}" srcOrd="20" destOrd="0" presId="urn:microsoft.com/office/officeart/2005/8/layout/vList3"/>
    <dgm:cxn modelId="{C3088FED-7EAE-4558-8063-60D615D71E97}" type="presParOf" srcId="{BD414FF3-F61C-47B8-AC36-8AD8F08A84B7}" destId="{15E13AE7-9203-4C6B-B0DD-50B61110A529}" srcOrd="0" destOrd="0" presId="urn:microsoft.com/office/officeart/2005/8/layout/vList3"/>
    <dgm:cxn modelId="{4AEB67D1-6B8C-41DE-816B-015B3B6C3B29}" type="presParOf" srcId="{BD414FF3-F61C-47B8-AC36-8AD8F08A84B7}" destId="{6A56BEEA-8395-4252-BA2D-91410545BC76}" srcOrd="1" destOrd="0" presId="urn:microsoft.com/office/officeart/2005/8/layout/vList3"/>
    <dgm:cxn modelId="{5D45991B-4C02-4076-BC1B-9F9BE8BE6BB6}" type="presParOf" srcId="{D2AC9C53-006C-4C94-9B44-06C0273F517B}" destId="{EDBE961C-7238-48A7-AD45-82A5DBFEF08E}" srcOrd="21" destOrd="0" presId="urn:microsoft.com/office/officeart/2005/8/layout/vList3"/>
    <dgm:cxn modelId="{183FA3DC-C224-417C-966C-466A707B7306}" type="presParOf" srcId="{D2AC9C53-006C-4C94-9B44-06C0273F517B}" destId="{8CC96E76-2A32-4305-9583-1C0A62C14A6D}" srcOrd="22" destOrd="0" presId="urn:microsoft.com/office/officeart/2005/8/layout/vList3"/>
    <dgm:cxn modelId="{7BD9222B-FA16-4C1B-A3C9-D02CBC261127}" type="presParOf" srcId="{8CC96E76-2A32-4305-9583-1C0A62C14A6D}" destId="{D17FC804-D7AC-40FF-B640-B47C5B150C24}" srcOrd="0" destOrd="0" presId="urn:microsoft.com/office/officeart/2005/8/layout/vList3"/>
    <dgm:cxn modelId="{08D19048-05E1-45CD-8350-841DCF7D613C}" type="presParOf" srcId="{8CC96E76-2A32-4305-9583-1C0A62C14A6D}" destId="{4E4AC8FE-FBB1-47AC-8C85-340E51DF06AE}" srcOrd="1" destOrd="0" presId="urn:microsoft.com/office/officeart/2005/8/layout/vList3"/>
    <dgm:cxn modelId="{E754530E-4ACF-4695-99F7-FC0A7F49A357}" type="presParOf" srcId="{D2AC9C53-006C-4C94-9B44-06C0273F517B}" destId="{AC90171B-37BC-442C-9854-11C11F10A8C4}" srcOrd="23" destOrd="0" presId="urn:microsoft.com/office/officeart/2005/8/layout/vList3"/>
    <dgm:cxn modelId="{388D9889-80C1-4AFC-95E5-81453EA4F11F}" type="presParOf" srcId="{D2AC9C53-006C-4C94-9B44-06C0273F517B}" destId="{9FB510A0-3116-4ECC-96BD-9BDBA71F8CF0}" srcOrd="24" destOrd="0" presId="urn:microsoft.com/office/officeart/2005/8/layout/vList3"/>
    <dgm:cxn modelId="{01B854C0-FBDA-4CF3-A606-3B295C3A5860}" type="presParOf" srcId="{9FB510A0-3116-4ECC-96BD-9BDBA71F8CF0}" destId="{07E42DE8-1661-4CE7-99F0-65BAD0073E6C}" srcOrd="0" destOrd="0" presId="urn:microsoft.com/office/officeart/2005/8/layout/vList3"/>
    <dgm:cxn modelId="{519BB15D-8855-4919-99E5-F20728F8DE1E}" type="presParOf" srcId="{9FB510A0-3116-4ECC-96BD-9BDBA71F8CF0}" destId="{EBB6C313-BC11-4AEE-B953-0FD35A787FDD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0FE47B1-CDE1-4A5B-B79B-FB1868EADFDC}" type="doc">
      <dgm:prSet loTypeId="urn:microsoft.com/office/officeart/2005/8/layout/vList5" loCatId="list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fr-FR"/>
        </a:p>
      </dgm:t>
    </dgm:pt>
    <dgm:pt modelId="{C06F7057-5F1C-4895-9DB6-3E8C190B3730}">
      <dgm:prSet phldrT="[Texte]" custT="1"/>
      <dgm:spPr/>
      <dgm:t>
        <a:bodyPr/>
        <a:lstStyle/>
        <a:p>
          <a:r>
            <a:rPr lang="fr-FR" sz="1300" b="1" dirty="0" err="1"/>
            <a:t>cp</a:t>
          </a:r>
          <a:r>
            <a:rPr lang="fr-FR" sz="1300" b="1" dirty="0"/>
            <a:t> </a:t>
          </a:r>
          <a:r>
            <a:rPr lang="fr-FR" sz="1300" b="1" dirty="0" smtClean="0"/>
            <a:t>FRIBOURG</a:t>
          </a:r>
          <a:endParaRPr lang="fr-FR" sz="1300" b="1" dirty="0"/>
        </a:p>
      </dgm:t>
    </dgm:pt>
    <dgm:pt modelId="{F84B3390-4EF1-4D97-916B-DDED01E75ACD}" type="parTrans" cxnId="{C5A95DDB-1C51-4BCF-830C-28A1C6838AB4}">
      <dgm:prSet/>
      <dgm:spPr/>
      <dgm:t>
        <a:bodyPr/>
        <a:lstStyle/>
        <a:p>
          <a:endParaRPr lang="fr-FR"/>
        </a:p>
      </dgm:t>
    </dgm:pt>
    <dgm:pt modelId="{ED31DC63-8317-4C58-B7C9-F933CBAD99A2}" type="sibTrans" cxnId="{C5A95DDB-1C51-4BCF-830C-28A1C6838AB4}">
      <dgm:prSet/>
      <dgm:spPr/>
      <dgm:t>
        <a:bodyPr/>
        <a:lstStyle/>
        <a:p>
          <a:endParaRPr lang="fr-FR"/>
        </a:p>
      </dgm:t>
    </dgm:pt>
    <dgm:pt modelId="{5E9448B8-C496-4CD7-B979-3C31CF16198D}">
      <dgm:prSet phldrT="[Texte]"/>
      <dgm:spPr/>
      <dgm:t>
        <a:bodyPr/>
        <a:lstStyle/>
        <a:p>
          <a:r>
            <a:rPr lang="fr-FR" dirty="0"/>
            <a:t>Zones = Fribourg, Givisiez et Granges-</a:t>
          </a:r>
          <a:r>
            <a:rPr lang="fr-FR" dirty="0" err="1"/>
            <a:t>Paccot</a:t>
          </a:r>
          <a:r>
            <a:rPr lang="fr-FR" dirty="0"/>
            <a:t> (+ La </a:t>
          </a:r>
          <a:r>
            <a:rPr lang="fr-FR" dirty="0" err="1"/>
            <a:t>Sonnaz</a:t>
          </a:r>
          <a:r>
            <a:rPr lang="fr-FR" dirty="0"/>
            <a:t> en P1 et P2)</a:t>
          </a:r>
        </a:p>
      </dgm:t>
    </dgm:pt>
    <dgm:pt modelId="{45590E2E-8E63-43AF-8312-DB59F9E22A56}" type="parTrans" cxnId="{C9C4B872-3DB2-421F-A667-87B71A9DC1BC}">
      <dgm:prSet/>
      <dgm:spPr/>
      <dgm:t>
        <a:bodyPr/>
        <a:lstStyle/>
        <a:p>
          <a:endParaRPr lang="fr-FR"/>
        </a:p>
      </dgm:t>
    </dgm:pt>
    <dgm:pt modelId="{B3419D26-C8EC-41B7-A1CB-B298B90012EB}" type="sibTrans" cxnId="{C9C4B872-3DB2-421F-A667-87B71A9DC1BC}">
      <dgm:prSet/>
      <dgm:spPr/>
      <dgm:t>
        <a:bodyPr/>
        <a:lstStyle/>
        <a:p>
          <a:endParaRPr lang="fr-FR"/>
        </a:p>
      </dgm:t>
    </dgm:pt>
    <dgm:pt modelId="{78BBB17B-3D83-4761-A8AF-3EB4861BCD6C}">
      <dgm:prSet phldrT="[Texte]"/>
      <dgm:spPr/>
      <dgm:t>
        <a:bodyPr/>
        <a:lstStyle/>
        <a:p>
          <a:r>
            <a:rPr lang="fr-FR" dirty="0"/>
            <a:t>Caserne louée = Fribourg </a:t>
          </a:r>
          <a:r>
            <a:rPr lang="fr-FR" b="1" dirty="0">
              <a:solidFill>
                <a:srgbClr val="00497C"/>
              </a:solidFill>
              <a:sym typeface="Wingdings" panose="05000000000000000000" pitchFamily="2" charset="2"/>
            </a:rPr>
            <a:t> Etude : Construction caserne unique (SAS et Pompiers)</a:t>
          </a:r>
          <a:endParaRPr lang="fr-FR" b="1" dirty="0">
            <a:solidFill>
              <a:srgbClr val="00497C"/>
            </a:solidFill>
          </a:endParaRPr>
        </a:p>
      </dgm:t>
    </dgm:pt>
    <dgm:pt modelId="{9432F762-3291-40DA-84B5-69E56A6250BC}" type="parTrans" cxnId="{474C01AB-75A3-4E92-BF13-F0D5AC36EB16}">
      <dgm:prSet/>
      <dgm:spPr/>
      <dgm:t>
        <a:bodyPr/>
        <a:lstStyle/>
        <a:p>
          <a:endParaRPr lang="fr-FR"/>
        </a:p>
      </dgm:t>
    </dgm:pt>
    <dgm:pt modelId="{2F01851F-CB90-429A-926E-183898EFD9CF}" type="sibTrans" cxnId="{474C01AB-75A3-4E92-BF13-F0D5AC36EB16}">
      <dgm:prSet/>
      <dgm:spPr/>
      <dgm:t>
        <a:bodyPr/>
        <a:lstStyle/>
        <a:p>
          <a:endParaRPr lang="fr-FR"/>
        </a:p>
      </dgm:t>
    </dgm:pt>
    <dgm:pt modelId="{330B167B-FD4E-4424-93C0-4AEADABCB4CC}">
      <dgm:prSet phldrT="[Texte]" custT="1"/>
      <dgm:spPr/>
      <dgm:t>
        <a:bodyPr/>
        <a:lstStyle/>
        <a:p>
          <a:r>
            <a:rPr lang="fr-FR" sz="1300" b="1" dirty="0" err="1"/>
            <a:t>cp</a:t>
          </a:r>
          <a:r>
            <a:rPr lang="fr-FR" sz="1300" b="1" dirty="0"/>
            <a:t> </a:t>
          </a:r>
          <a:r>
            <a:rPr lang="fr-FR" sz="1300" b="1" dirty="0" smtClean="0"/>
            <a:t>SARINE </a:t>
          </a:r>
          <a:r>
            <a:rPr lang="fr-FR" sz="1300" b="1" dirty="0"/>
            <a:t>NORD</a:t>
          </a:r>
        </a:p>
      </dgm:t>
    </dgm:pt>
    <dgm:pt modelId="{E496A1AA-4345-48D8-B6FC-F8CC2382F5B6}" type="parTrans" cxnId="{8551681D-BE1E-400A-9105-475305838FCC}">
      <dgm:prSet/>
      <dgm:spPr/>
      <dgm:t>
        <a:bodyPr/>
        <a:lstStyle/>
        <a:p>
          <a:endParaRPr lang="fr-FR"/>
        </a:p>
      </dgm:t>
    </dgm:pt>
    <dgm:pt modelId="{9DA47619-F25F-45C5-A86C-46253784D598}" type="sibTrans" cxnId="{8551681D-BE1E-400A-9105-475305838FCC}">
      <dgm:prSet/>
      <dgm:spPr/>
      <dgm:t>
        <a:bodyPr/>
        <a:lstStyle/>
        <a:p>
          <a:endParaRPr lang="fr-FR"/>
        </a:p>
      </dgm:t>
    </dgm:pt>
    <dgm:pt modelId="{FE0F3167-C424-4C9A-9772-26F44561D991}">
      <dgm:prSet phldrT="[Texte]"/>
      <dgm:spPr/>
      <dgm:t>
        <a:bodyPr/>
        <a:lstStyle/>
        <a:p>
          <a:r>
            <a:rPr lang="fr-FR" dirty="0"/>
            <a:t>Zones = Belfaux, La </a:t>
          </a:r>
          <a:r>
            <a:rPr lang="fr-FR" dirty="0" err="1"/>
            <a:t>Sonnaz</a:t>
          </a:r>
          <a:r>
            <a:rPr lang="fr-FR" dirty="0"/>
            <a:t>, </a:t>
          </a:r>
          <a:r>
            <a:rPr lang="fr-FR" dirty="0" smtClean="0"/>
            <a:t>Grolley, </a:t>
          </a:r>
          <a:r>
            <a:rPr lang="fr-FR" dirty="0" err="1" smtClean="0"/>
            <a:t>Ponthaux</a:t>
          </a:r>
          <a:endParaRPr lang="fr-FR" dirty="0"/>
        </a:p>
      </dgm:t>
    </dgm:pt>
    <dgm:pt modelId="{A4B7C16E-369C-4F77-A341-1FDCA5B92F71}" type="parTrans" cxnId="{25A8E6AE-C168-47F8-9580-3B9575F9BA7A}">
      <dgm:prSet/>
      <dgm:spPr/>
      <dgm:t>
        <a:bodyPr/>
        <a:lstStyle/>
        <a:p>
          <a:endParaRPr lang="fr-FR"/>
        </a:p>
      </dgm:t>
    </dgm:pt>
    <dgm:pt modelId="{B3628928-45BC-49B8-8B5A-4ADE2A2849A4}" type="sibTrans" cxnId="{25A8E6AE-C168-47F8-9580-3B9575F9BA7A}">
      <dgm:prSet/>
      <dgm:spPr/>
      <dgm:t>
        <a:bodyPr/>
        <a:lstStyle/>
        <a:p>
          <a:endParaRPr lang="fr-FR"/>
        </a:p>
      </dgm:t>
    </dgm:pt>
    <dgm:pt modelId="{5972B689-4DA4-40E1-82CD-6583B8127E64}">
      <dgm:prSet phldrT="[Texte]"/>
      <dgm:spPr/>
      <dgm:t>
        <a:bodyPr/>
        <a:lstStyle/>
        <a:p>
          <a:r>
            <a:rPr lang="fr-FR" dirty="0"/>
            <a:t>Casernes louées = Belfaux + Grolley </a:t>
          </a:r>
          <a:r>
            <a:rPr lang="fr-FR" b="1" dirty="0">
              <a:solidFill>
                <a:srgbClr val="00497C"/>
              </a:solidFill>
              <a:sym typeface="Wingdings" panose="05000000000000000000" pitchFamily="2" charset="2"/>
            </a:rPr>
            <a:t> Etude : Construction 1 caserne pour la zone</a:t>
          </a:r>
          <a:endParaRPr lang="fr-FR" dirty="0">
            <a:solidFill>
              <a:srgbClr val="00497C"/>
            </a:solidFill>
          </a:endParaRPr>
        </a:p>
      </dgm:t>
    </dgm:pt>
    <dgm:pt modelId="{B4C37BEC-7B39-46A3-B89B-F5CEFC216B82}" type="parTrans" cxnId="{930B8F38-08D3-4443-8810-7A389B1B9EB8}">
      <dgm:prSet/>
      <dgm:spPr/>
      <dgm:t>
        <a:bodyPr/>
        <a:lstStyle/>
        <a:p>
          <a:endParaRPr lang="fr-FR"/>
        </a:p>
      </dgm:t>
    </dgm:pt>
    <dgm:pt modelId="{995CE18E-17C9-47D1-BA4E-94362B6FB35E}" type="sibTrans" cxnId="{930B8F38-08D3-4443-8810-7A389B1B9EB8}">
      <dgm:prSet/>
      <dgm:spPr/>
      <dgm:t>
        <a:bodyPr/>
        <a:lstStyle/>
        <a:p>
          <a:endParaRPr lang="fr-FR"/>
        </a:p>
      </dgm:t>
    </dgm:pt>
    <dgm:pt modelId="{E66E3CE3-D11A-4AC2-B6FA-C75A94851866}">
      <dgm:prSet phldrT="[Texte]" custT="1"/>
      <dgm:spPr/>
      <dgm:t>
        <a:bodyPr/>
        <a:lstStyle/>
        <a:p>
          <a:r>
            <a:rPr lang="fr-FR" sz="1300" b="1" dirty="0" err="1"/>
            <a:t>cp</a:t>
          </a:r>
          <a:r>
            <a:rPr lang="fr-FR" sz="1300" b="1" dirty="0"/>
            <a:t> </a:t>
          </a:r>
          <a:r>
            <a:rPr lang="fr-FR" sz="1300" b="1" dirty="0" smtClean="0"/>
            <a:t>MARLY </a:t>
          </a:r>
          <a:endParaRPr lang="fr-FR" sz="1300" b="1" dirty="0"/>
        </a:p>
      </dgm:t>
    </dgm:pt>
    <dgm:pt modelId="{C05A2B72-FBA5-4C4A-97A7-4619339BF17E}" type="parTrans" cxnId="{F3DD05E2-D7FB-4DB3-961D-19ACD8D79C4A}">
      <dgm:prSet/>
      <dgm:spPr/>
      <dgm:t>
        <a:bodyPr/>
        <a:lstStyle/>
        <a:p>
          <a:endParaRPr lang="fr-FR"/>
        </a:p>
      </dgm:t>
    </dgm:pt>
    <dgm:pt modelId="{0DA2D17E-36E8-4251-B6E2-2DE923B0295B}" type="sibTrans" cxnId="{F3DD05E2-D7FB-4DB3-961D-19ACD8D79C4A}">
      <dgm:prSet/>
      <dgm:spPr/>
      <dgm:t>
        <a:bodyPr/>
        <a:lstStyle/>
        <a:p>
          <a:endParaRPr lang="fr-FR"/>
        </a:p>
      </dgm:t>
    </dgm:pt>
    <dgm:pt modelId="{0F5BF269-C494-4E75-9D34-553EF70D14AC}">
      <dgm:prSet phldrT="[Texte]"/>
      <dgm:spPr/>
      <dgm:t>
        <a:bodyPr/>
        <a:lstStyle/>
        <a:p>
          <a:r>
            <a:rPr lang="fr-FR" dirty="0"/>
            <a:t>Zones = Marly, </a:t>
          </a:r>
          <a:r>
            <a:rPr lang="fr-FR" dirty="0" err="1"/>
            <a:t>Villarsel</a:t>
          </a:r>
          <a:r>
            <a:rPr lang="fr-FR" dirty="0"/>
            <a:t>-sur-Marly, Pierrafortscha</a:t>
          </a:r>
        </a:p>
      </dgm:t>
    </dgm:pt>
    <dgm:pt modelId="{EF4DD097-0294-47C0-95E1-7BFD4849EDA2}" type="parTrans" cxnId="{7BF11B03-9755-4BAD-B07C-B7CE020E7342}">
      <dgm:prSet/>
      <dgm:spPr/>
      <dgm:t>
        <a:bodyPr/>
        <a:lstStyle/>
        <a:p>
          <a:endParaRPr lang="fr-FR"/>
        </a:p>
      </dgm:t>
    </dgm:pt>
    <dgm:pt modelId="{148B4C5E-B8E4-4C75-BC89-2E9BFA9A6B0D}" type="sibTrans" cxnId="{7BF11B03-9755-4BAD-B07C-B7CE020E7342}">
      <dgm:prSet/>
      <dgm:spPr/>
      <dgm:t>
        <a:bodyPr/>
        <a:lstStyle/>
        <a:p>
          <a:endParaRPr lang="fr-FR"/>
        </a:p>
      </dgm:t>
    </dgm:pt>
    <dgm:pt modelId="{443CA420-7640-4E7D-91E6-4E26371A0EFB}">
      <dgm:prSet phldrT="[Texte]" custT="1"/>
      <dgm:spPr/>
      <dgm:t>
        <a:bodyPr/>
        <a:lstStyle/>
        <a:p>
          <a:r>
            <a:rPr lang="fr-FR" sz="1300" b="1" dirty="0" err="1"/>
            <a:t>cp</a:t>
          </a:r>
          <a:r>
            <a:rPr lang="fr-FR" sz="1300" b="1" dirty="0"/>
            <a:t> </a:t>
          </a:r>
          <a:r>
            <a:rPr lang="fr-FR" sz="1300" b="1" dirty="0" smtClean="0"/>
            <a:t>SARINE </a:t>
          </a:r>
          <a:r>
            <a:rPr lang="fr-FR" sz="1300" b="1" dirty="0"/>
            <a:t>OUEST</a:t>
          </a:r>
        </a:p>
      </dgm:t>
    </dgm:pt>
    <dgm:pt modelId="{2E4CCF4B-725A-4F2B-B478-5AAB6967232F}" type="parTrans" cxnId="{F02A3F19-30ED-4B99-B428-BC0061B102AE}">
      <dgm:prSet/>
      <dgm:spPr/>
      <dgm:t>
        <a:bodyPr/>
        <a:lstStyle/>
        <a:p>
          <a:endParaRPr lang="fr-FR"/>
        </a:p>
      </dgm:t>
    </dgm:pt>
    <dgm:pt modelId="{7AFFAF44-630E-4C97-9D4E-53312760BC37}" type="sibTrans" cxnId="{F02A3F19-30ED-4B99-B428-BC0061B102AE}">
      <dgm:prSet/>
      <dgm:spPr/>
      <dgm:t>
        <a:bodyPr/>
        <a:lstStyle/>
        <a:p>
          <a:endParaRPr lang="fr-FR"/>
        </a:p>
      </dgm:t>
    </dgm:pt>
    <dgm:pt modelId="{3100BD6D-7F62-4D4B-B265-0098E91C4252}">
      <dgm:prSet phldrT="[Texte]" custT="1"/>
      <dgm:spPr/>
      <dgm:t>
        <a:bodyPr/>
        <a:lstStyle/>
        <a:p>
          <a:r>
            <a:rPr lang="fr-FR" sz="1300" b="1" dirty="0" err="1"/>
            <a:t>cp</a:t>
          </a:r>
          <a:r>
            <a:rPr lang="fr-FR" sz="1300" b="1" dirty="0"/>
            <a:t> </a:t>
          </a:r>
          <a:r>
            <a:rPr lang="fr-FR" sz="1300" b="1" dirty="0" smtClean="0"/>
            <a:t>HAUTE SARINE</a:t>
          </a:r>
          <a:endParaRPr lang="fr-FR" sz="1300" b="1" dirty="0"/>
        </a:p>
      </dgm:t>
    </dgm:pt>
    <dgm:pt modelId="{D84E54CD-4E8E-4CE0-8F00-1DC6A4E407CF}" type="parTrans" cxnId="{63552ABC-8B57-4E77-973A-88C6606B3D8C}">
      <dgm:prSet/>
      <dgm:spPr/>
      <dgm:t>
        <a:bodyPr/>
        <a:lstStyle/>
        <a:p>
          <a:endParaRPr lang="fr-FR"/>
        </a:p>
      </dgm:t>
    </dgm:pt>
    <dgm:pt modelId="{EC1218E6-DDB1-4292-BB44-9A0AB399FBEE}" type="sibTrans" cxnId="{63552ABC-8B57-4E77-973A-88C6606B3D8C}">
      <dgm:prSet/>
      <dgm:spPr/>
      <dgm:t>
        <a:bodyPr/>
        <a:lstStyle/>
        <a:p>
          <a:endParaRPr lang="fr-FR"/>
        </a:p>
      </dgm:t>
    </dgm:pt>
    <dgm:pt modelId="{4B052D83-B45F-43DA-9198-638D4E86BFF4}">
      <dgm:prSet phldrT="[Texte]" custT="1"/>
      <dgm:spPr/>
      <dgm:t>
        <a:bodyPr/>
        <a:lstStyle/>
        <a:p>
          <a:r>
            <a:rPr lang="fr-FR" sz="1300" b="1" dirty="0" err="1"/>
            <a:t>cp</a:t>
          </a:r>
          <a:r>
            <a:rPr lang="fr-FR" sz="1300" b="1" dirty="0"/>
            <a:t> </a:t>
          </a:r>
          <a:r>
            <a:rPr lang="fr-FR" sz="1300" b="1" dirty="0" smtClean="0"/>
            <a:t>MONCOR</a:t>
          </a:r>
          <a:endParaRPr lang="fr-FR" sz="1300" b="1" dirty="0"/>
        </a:p>
      </dgm:t>
    </dgm:pt>
    <dgm:pt modelId="{94567882-8AFF-46B7-9839-3E6B240E5F60}" type="parTrans" cxnId="{F4D2F954-C6F8-4299-AAE0-6FA032EF8464}">
      <dgm:prSet/>
      <dgm:spPr/>
      <dgm:t>
        <a:bodyPr/>
        <a:lstStyle/>
        <a:p>
          <a:endParaRPr lang="fr-FR"/>
        </a:p>
      </dgm:t>
    </dgm:pt>
    <dgm:pt modelId="{B182B818-97BB-45EA-9FA0-E2F9FB89DFC2}" type="sibTrans" cxnId="{F4D2F954-C6F8-4299-AAE0-6FA032EF8464}">
      <dgm:prSet/>
      <dgm:spPr/>
      <dgm:t>
        <a:bodyPr/>
        <a:lstStyle/>
        <a:p>
          <a:endParaRPr lang="fr-FR"/>
        </a:p>
      </dgm:t>
    </dgm:pt>
    <dgm:pt modelId="{58CAC456-C6A3-403F-8104-EB18D449788A}">
      <dgm:prSet phldrT="[Texte]" custT="1"/>
      <dgm:spPr/>
      <dgm:t>
        <a:bodyPr/>
        <a:lstStyle/>
        <a:p>
          <a:r>
            <a:rPr lang="fr-FR" sz="1300" b="1" dirty="0" err="1"/>
            <a:t>cp</a:t>
          </a:r>
          <a:r>
            <a:rPr lang="fr-FR" sz="1300" b="1" dirty="0"/>
            <a:t> </a:t>
          </a:r>
          <a:r>
            <a:rPr lang="fr-FR" sz="1300" b="1" dirty="0" smtClean="0"/>
            <a:t>SARINE CAMPAGNE</a:t>
          </a:r>
          <a:endParaRPr lang="fr-FR" sz="1300" b="1" dirty="0"/>
        </a:p>
      </dgm:t>
    </dgm:pt>
    <dgm:pt modelId="{9E903CAB-9C86-4423-8E56-59C6218F070F}" type="parTrans" cxnId="{E8BE70F7-6A96-414D-B5D2-2F73050CD6B5}">
      <dgm:prSet/>
      <dgm:spPr/>
      <dgm:t>
        <a:bodyPr/>
        <a:lstStyle/>
        <a:p>
          <a:endParaRPr lang="fr-FR"/>
        </a:p>
      </dgm:t>
    </dgm:pt>
    <dgm:pt modelId="{3AC8F923-904A-4DBA-A1D4-359DC63F5BCF}" type="sibTrans" cxnId="{E8BE70F7-6A96-414D-B5D2-2F73050CD6B5}">
      <dgm:prSet/>
      <dgm:spPr/>
      <dgm:t>
        <a:bodyPr/>
        <a:lstStyle/>
        <a:p>
          <a:endParaRPr lang="fr-FR"/>
        </a:p>
      </dgm:t>
    </dgm:pt>
    <dgm:pt modelId="{3C2A9896-AA4E-461E-A63F-E588FE06E134}">
      <dgm:prSet phldrT="[Texte]" custT="1"/>
      <dgm:spPr/>
      <dgm:t>
        <a:bodyPr/>
        <a:lstStyle/>
        <a:p>
          <a:r>
            <a:rPr lang="fr-FR" sz="1300" b="1" dirty="0" err="1"/>
            <a:t>cp</a:t>
          </a:r>
          <a:r>
            <a:rPr lang="fr-FR" sz="1300" b="1" dirty="0"/>
            <a:t> </a:t>
          </a:r>
          <a:r>
            <a:rPr lang="fr-FR" sz="1300" b="1" dirty="0" smtClean="0"/>
            <a:t>GIBLOUX</a:t>
          </a:r>
          <a:endParaRPr lang="fr-FR" sz="1300" b="1" dirty="0"/>
        </a:p>
      </dgm:t>
    </dgm:pt>
    <dgm:pt modelId="{3C1C60FC-4965-4FBB-BB13-F6A2C4C171C2}" type="parTrans" cxnId="{3C4A8555-7AB3-459A-AACA-3605B7D9BBE2}">
      <dgm:prSet/>
      <dgm:spPr/>
      <dgm:t>
        <a:bodyPr/>
        <a:lstStyle/>
        <a:p>
          <a:endParaRPr lang="fr-FR"/>
        </a:p>
      </dgm:t>
    </dgm:pt>
    <dgm:pt modelId="{8DEC5AA8-E9EB-4A34-86AD-7CBCF78DB533}" type="sibTrans" cxnId="{3C4A8555-7AB3-459A-AACA-3605B7D9BBE2}">
      <dgm:prSet/>
      <dgm:spPr/>
      <dgm:t>
        <a:bodyPr/>
        <a:lstStyle/>
        <a:p>
          <a:endParaRPr lang="fr-FR"/>
        </a:p>
      </dgm:t>
    </dgm:pt>
    <dgm:pt modelId="{45C803F4-2326-4F56-ABB3-1E0E02B22A1B}">
      <dgm:prSet/>
      <dgm:spPr/>
      <dgm:t>
        <a:bodyPr/>
        <a:lstStyle/>
        <a:p>
          <a:r>
            <a:rPr lang="fr-FR" dirty="0"/>
            <a:t>Caserne louée = Marly </a:t>
          </a:r>
          <a:r>
            <a:rPr lang="fr-FR" b="1" dirty="0">
              <a:solidFill>
                <a:srgbClr val="00497C"/>
              </a:solidFill>
              <a:sym typeface="Wingdings" panose="05000000000000000000" pitchFamily="2" charset="2"/>
            </a:rPr>
            <a:t> Etude : Construction nouvelle caserne Marly</a:t>
          </a:r>
          <a:endParaRPr lang="fr-FR" dirty="0">
            <a:solidFill>
              <a:srgbClr val="00497C"/>
            </a:solidFill>
          </a:endParaRPr>
        </a:p>
      </dgm:t>
    </dgm:pt>
    <dgm:pt modelId="{7A971E0C-6868-4011-A0FE-B635BFE338EB}" type="parTrans" cxnId="{456A2360-ED7F-4323-96CA-FE5F4667980A}">
      <dgm:prSet/>
      <dgm:spPr/>
      <dgm:t>
        <a:bodyPr/>
        <a:lstStyle/>
        <a:p>
          <a:endParaRPr lang="fr-FR"/>
        </a:p>
      </dgm:t>
    </dgm:pt>
    <dgm:pt modelId="{265BCFA5-51B2-4AFF-B81C-474EC6E2C4A4}" type="sibTrans" cxnId="{456A2360-ED7F-4323-96CA-FE5F4667980A}">
      <dgm:prSet/>
      <dgm:spPr/>
      <dgm:t>
        <a:bodyPr/>
        <a:lstStyle/>
        <a:p>
          <a:endParaRPr lang="fr-FR"/>
        </a:p>
      </dgm:t>
    </dgm:pt>
    <dgm:pt modelId="{69E9AF89-35B2-485D-8F4B-108AD90B9EAE}">
      <dgm:prSet phldrT="[Texte]" custT="1"/>
      <dgm:spPr/>
      <dgm:t>
        <a:bodyPr/>
        <a:lstStyle/>
        <a:p>
          <a:r>
            <a:rPr lang="fr-FR" sz="900" dirty="0"/>
            <a:t>Zones = Le Mouret, </a:t>
          </a:r>
          <a:r>
            <a:rPr lang="fr-FR" sz="900" dirty="0" err="1"/>
            <a:t>Ferpicloz</a:t>
          </a:r>
          <a:r>
            <a:rPr lang="fr-FR" sz="900" dirty="0"/>
            <a:t>, Bois d'Amont, </a:t>
          </a:r>
          <a:r>
            <a:rPr lang="fr-FR" sz="900" dirty="0" err="1"/>
            <a:t>Treyvaux</a:t>
          </a:r>
          <a:endParaRPr lang="fr-FR" sz="900" b="1" dirty="0"/>
        </a:p>
      </dgm:t>
    </dgm:pt>
    <dgm:pt modelId="{01E24BEA-958D-424B-9587-A07174A8B769}" type="parTrans" cxnId="{10B8EA13-9E29-49CE-B9BD-B41C38754CDE}">
      <dgm:prSet/>
      <dgm:spPr/>
      <dgm:t>
        <a:bodyPr/>
        <a:lstStyle/>
        <a:p>
          <a:endParaRPr lang="fr-FR"/>
        </a:p>
      </dgm:t>
    </dgm:pt>
    <dgm:pt modelId="{9E41305F-7E3C-44E5-AFEB-06AA9756E814}" type="sibTrans" cxnId="{10B8EA13-9E29-49CE-B9BD-B41C38754CDE}">
      <dgm:prSet/>
      <dgm:spPr/>
      <dgm:t>
        <a:bodyPr/>
        <a:lstStyle/>
        <a:p>
          <a:endParaRPr lang="fr-FR"/>
        </a:p>
      </dgm:t>
    </dgm:pt>
    <dgm:pt modelId="{16EBDD09-B7E7-4D2F-A59F-FEE3770509D6}">
      <dgm:prSet custT="1"/>
      <dgm:spPr/>
      <dgm:t>
        <a:bodyPr/>
        <a:lstStyle/>
        <a:p>
          <a:r>
            <a:rPr lang="fr-FR" sz="900" dirty="0"/>
            <a:t>Casernes louées = Le Mouret + </a:t>
          </a:r>
          <a:r>
            <a:rPr lang="fr-FR" sz="900" dirty="0" err="1"/>
            <a:t>Treyvaux</a:t>
          </a:r>
          <a:r>
            <a:rPr lang="fr-FR" sz="900" dirty="0"/>
            <a:t> </a:t>
          </a:r>
          <a:r>
            <a:rPr lang="fr-FR" sz="900" b="1" dirty="0">
              <a:solidFill>
                <a:srgbClr val="00497C"/>
              </a:solidFill>
              <a:sym typeface="Wingdings" panose="05000000000000000000" pitchFamily="2" charset="2"/>
            </a:rPr>
            <a:t> Etude : Construction 1 caserne pour la zone</a:t>
          </a:r>
          <a:endParaRPr lang="fr-FR" sz="900" dirty="0">
            <a:solidFill>
              <a:srgbClr val="00497C"/>
            </a:solidFill>
          </a:endParaRPr>
        </a:p>
      </dgm:t>
    </dgm:pt>
    <dgm:pt modelId="{9441780E-0050-495E-A4C4-8179FD285058}" type="parTrans" cxnId="{C139F860-9A42-43F3-948E-F2DD5980AC66}">
      <dgm:prSet/>
      <dgm:spPr/>
      <dgm:t>
        <a:bodyPr/>
        <a:lstStyle/>
        <a:p>
          <a:endParaRPr lang="fr-FR"/>
        </a:p>
      </dgm:t>
    </dgm:pt>
    <dgm:pt modelId="{485AA1DA-532A-4D66-B339-58DB88F2B79A}" type="sibTrans" cxnId="{C139F860-9A42-43F3-948E-F2DD5980AC66}">
      <dgm:prSet/>
      <dgm:spPr/>
      <dgm:t>
        <a:bodyPr/>
        <a:lstStyle/>
        <a:p>
          <a:endParaRPr lang="fr-FR"/>
        </a:p>
      </dgm:t>
    </dgm:pt>
    <dgm:pt modelId="{49957ECD-513A-45C0-9634-53355977E9D6}">
      <dgm:prSet phldrT="[Texte]" custT="1"/>
      <dgm:spPr/>
      <dgm:t>
        <a:bodyPr/>
        <a:lstStyle/>
        <a:p>
          <a:r>
            <a:rPr lang="fr-FR" sz="900" dirty="0"/>
            <a:t>Zones = Villars-sur-Glâne, </a:t>
          </a:r>
          <a:r>
            <a:rPr lang="fr-FR" sz="900" dirty="0" err="1"/>
            <a:t>Corminboeuf</a:t>
          </a:r>
          <a:endParaRPr lang="fr-FR" sz="900" b="1" dirty="0"/>
        </a:p>
      </dgm:t>
    </dgm:pt>
    <dgm:pt modelId="{29F8FA51-C067-4D42-9945-53687B0FD832}" type="parTrans" cxnId="{67F48C41-370F-4A62-B28E-A4727A99F84F}">
      <dgm:prSet/>
      <dgm:spPr/>
      <dgm:t>
        <a:bodyPr/>
        <a:lstStyle/>
        <a:p>
          <a:endParaRPr lang="fr-FR"/>
        </a:p>
      </dgm:t>
    </dgm:pt>
    <dgm:pt modelId="{93344734-E379-4190-9E08-73E24E90B68E}" type="sibTrans" cxnId="{67F48C41-370F-4A62-B28E-A4727A99F84F}">
      <dgm:prSet/>
      <dgm:spPr/>
      <dgm:t>
        <a:bodyPr/>
        <a:lstStyle/>
        <a:p>
          <a:endParaRPr lang="fr-FR"/>
        </a:p>
      </dgm:t>
    </dgm:pt>
    <dgm:pt modelId="{B40501A9-E6B6-41DF-9545-74F2E8EC3C27}">
      <dgm:prSet custT="1"/>
      <dgm:spPr/>
      <dgm:t>
        <a:bodyPr/>
        <a:lstStyle/>
        <a:p>
          <a:r>
            <a:rPr lang="fr-FR" sz="900" dirty="0"/>
            <a:t>Casernes louées = Villars-sur-Glâne (+ </a:t>
          </a:r>
          <a:r>
            <a:rPr lang="fr-FR" sz="900" dirty="0" err="1"/>
            <a:t>Corminboeuf</a:t>
          </a:r>
          <a:r>
            <a:rPr lang="fr-FR" sz="900" dirty="0"/>
            <a:t>, à confirmer et limité dans le temps)</a:t>
          </a:r>
          <a:endParaRPr lang="fr-FR" sz="900" dirty="0">
            <a:solidFill>
              <a:srgbClr val="00497C"/>
            </a:solidFill>
          </a:endParaRPr>
        </a:p>
      </dgm:t>
    </dgm:pt>
    <dgm:pt modelId="{E23F4F4C-7DFE-48A5-84B9-AECB4E205AF7}" type="parTrans" cxnId="{AFEDA440-F888-4468-9502-39E1517E8D65}">
      <dgm:prSet/>
      <dgm:spPr/>
      <dgm:t>
        <a:bodyPr/>
        <a:lstStyle/>
        <a:p>
          <a:endParaRPr lang="fr-FR"/>
        </a:p>
      </dgm:t>
    </dgm:pt>
    <dgm:pt modelId="{A9F860C2-1ED4-4ED0-AD4B-339BD64A105F}" type="sibTrans" cxnId="{AFEDA440-F888-4468-9502-39E1517E8D65}">
      <dgm:prSet/>
      <dgm:spPr/>
      <dgm:t>
        <a:bodyPr/>
        <a:lstStyle/>
        <a:p>
          <a:endParaRPr lang="fr-FR"/>
        </a:p>
      </dgm:t>
    </dgm:pt>
    <dgm:pt modelId="{3E42E688-582D-453B-B68C-51560996EA44}">
      <dgm:prSet phldrT="[Texte]" custT="1"/>
      <dgm:spPr/>
      <dgm:t>
        <a:bodyPr/>
        <a:lstStyle/>
        <a:p>
          <a:r>
            <a:rPr lang="fr-FR" sz="900" dirty="0"/>
            <a:t>Zones = </a:t>
          </a:r>
          <a:r>
            <a:rPr lang="fr-FR" sz="900" dirty="0" err="1"/>
            <a:t>Matran</a:t>
          </a:r>
          <a:r>
            <a:rPr lang="fr-FR" sz="900" dirty="0"/>
            <a:t>, </a:t>
          </a:r>
          <a:r>
            <a:rPr lang="fr-FR" sz="900" dirty="0" err="1"/>
            <a:t>Avry</a:t>
          </a:r>
          <a:r>
            <a:rPr lang="fr-FR" sz="900" dirty="0"/>
            <a:t>, Neyruz, Prez (sans </a:t>
          </a:r>
          <a:r>
            <a:rPr lang="fr-FR" sz="900" dirty="0" err="1"/>
            <a:t>Corserey</a:t>
          </a:r>
          <a:r>
            <a:rPr lang="fr-FR" sz="900" dirty="0"/>
            <a:t>, à confirmer avec l'ECAB)</a:t>
          </a:r>
          <a:endParaRPr lang="fr-FR" sz="900" b="1" dirty="0"/>
        </a:p>
      </dgm:t>
    </dgm:pt>
    <dgm:pt modelId="{389E8D4F-31A6-47B4-B52B-5AA792BD7030}" type="parTrans" cxnId="{DE85EE08-B90F-4C97-827E-658E2632FABF}">
      <dgm:prSet/>
      <dgm:spPr/>
      <dgm:t>
        <a:bodyPr/>
        <a:lstStyle/>
        <a:p>
          <a:endParaRPr lang="fr-FR"/>
        </a:p>
      </dgm:t>
    </dgm:pt>
    <dgm:pt modelId="{2885259C-A599-460D-921D-D80308918C44}" type="sibTrans" cxnId="{DE85EE08-B90F-4C97-827E-658E2632FABF}">
      <dgm:prSet/>
      <dgm:spPr/>
      <dgm:t>
        <a:bodyPr/>
        <a:lstStyle/>
        <a:p>
          <a:endParaRPr lang="fr-FR"/>
        </a:p>
      </dgm:t>
    </dgm:pt>
    <dgm:pt modelId="{32A06172-DCE0-438B-A983-16D54AED2712}">
      <dgm:prSet custT="1"/>
      <dgm:spPr/>
      <dgm:t>
        <a:bodyPr/>
        <a:lstStyle/>
        <a:p>
          <a:r>
            <a:rPr lang="fr-FR" sz="900" dirty="0"/>
            <a:t>Casernes louées = </a:t>
          </a:r>
          <a:r>
            <a:rPr lang="fr-FR" sz="900" dirty="0" err="1"/>
            <a:t>Avry</a:t>
          </a:r>
          <a:r>
            <a:rPr lang="fr-FR" sz="900" dirty="0"/>
            <a:t> + Prez </a:t>
          </a:r>
          <a:r>
            <a:rPr lang="fr-FR" sz="900" b="1" dirty="0">
              <a:solidFill>
                <a:srgbClr val="00497C"/>
              </a:solidFill>
              <a:sym typeface="Wingdings" panose="05000000000000000000" pitchFamily="2" charset="2"/>
            </a:rPr>
            <a:t> Etude : Construction 1 caserne pour la zone</a:t>
          </a:r>
          <a:endParaRPr lang="fr-FR" sz="900" dirty="0">
            <a:solidFill>
              <a:srgbClr val="00497C"/>
            </a:solidFill>
          </a:endParaRPr>
        </a:p>
      </dgm:t>
    </dgm:pt>
    <dgm:pt modelId="{130987FD-8B46-4B3B-A888-91AF8D542B09}" type="parTrans" cxnId="{3E2556F1-C4FE-4D8C-B2BF-64F4B5554140}">
      <dgm:prSet/>
      <dgm:spPr/>
      <dgm:t>
        <a:bodyPr/>
        <a:lstStyle/>
        <a:p>
          <a:endParaRPr lang="fr-FR"/>
        </a:p>
      </dgm:t>
    </dgm:pt>
    <dgm:pt modelId="{99CFC27E-A0AD-44E4-9F6E-A14A18C326C4}" type="sibTrans" cxnId="{3E2556F1-C4FE-4D8C-B2BF-64F4B5554140}">
      <dgm:prSet/>
      <dgm:spPr/>
      <dgm:t>
        <a:bodyPr/>
        <a:lstStyle/>
        <a:p>
          <a:endParaRPr lang="fr-FR"/>
        </a:p>
      </dgm:t>
    </dgm:pt>
    <dgm:pt modelId="{D6180FC7-DCEB-4B28-90F9-C426C84623A9}">
      <dgm:prSet phldrT="[Texte]" custT="1"/>
      <dgm:spPr/>
      <dgm:t>
        <a:bodyPr/>
        <a:lstStyle/>
        <a:p>
          <a:r>
            <a:rPr lang="fr-FR" sz="900" dirty="0"/>
            <a:t>Zones = Hauterive, </a:t>
          </a:r>
          <a:r>
            <a:rPr lang="fr-FR" sz="900" dirty="0" err="1"/>
            <a:t>Gibloux</a:t>
          </a:r>
          <a:endParaRPr lang="fr-FR" sz="900" b="1" dirty="0"/>
        </a:p>
      </dgm:t>
    </dgm:pt>
    <dgm:pt modelId="{5D8CACA9-393B-41A6-B1AE-E2920D81D650}" type="parTrans" cxnId="{376D4060-23BF-45B7-B998-29EE6FFAAFEB}">
      <dgm:prSet/>
      <dgm:spPr/>
      <dgm:t>
        <a:bodyPr/>
        <a:lstStyle/>
        <a:p>
          <a:endParaRPr lang="fr-FR"/>
        </a:p>
      </dgm:t>
    </dgm:pt>
    <dgm:pt modelId="{24935F9E-471B-4FD1-8233-F1C5BD6468E6}" type="sibTrans" cxnId="{376D4060-23BF-45B7-B998-29EE6FFAAFEB}">
      <dgm:prSet/>
      <dgm:spPr/>
      <dgm:t>
        <a:bodyPr/>
        <a:lstStyle/>
        <a:p>
          <a:endParaRPr lang="fr-FR"/>
        </a:p>
      </dgm:t>
    </dgm:pt>
    <dgm:pt modelId="{AC4CDC41-048C-4056-A177-D454C7C7E3A1}">
      <dgm:prSet custT="1"/>
      <dgm:spPr/>
      <dgm:t>
        <a:bodyPr/>
        <a:lstStyle/>
        <a:p>
          <a:r>
            <a:rPr lang="fr-FR" sz="900" dirty="0"/>
            <a:t>Casernes louées = Hauterive + </a:t>
          </a:r>
          <a:r>
            <a:rPr lang="fr-FR" sz="900" dirty="0" err="1"/>
            <a:t>Gibloux</a:t>
          </a:r>
          <a:r>
            <a:rPr lang="fr-FR" sz="900" dirty="0"/>
            <a:t> </a:t>
          </a:r>
          <a:r>
            <a:rPr lang="fr-FR" sz="900" b="1" dirty="0">
              <a:solidFill>
                <a:srgbClr val="00497C"/>
              </a:solidFill>
              <a:sym typeface="Wingdings" panose="05000000000000000000" pitchFamily="2" charset="2"/>
            </a:rPr>
            <a:t> Etude : Construction 1 caserne pour la zone</a:t>
          </a:r>
          <a:endParaRPr lang="fr-FR" sz="900" dirty="0">
            <a:solidFill>
              <a:srgbClr val="00497C"/>
            </a:solidFill>
          </a:endParaRPr>
        </a:p>
      </dgm:t>
    </dgm:pt>
    <dgm:pt modelId="{D4C1D542-604F-4A3C-8EDA-A83BE7FEC693}" type="parTrans" cxnId="{C5F0518B-816C-479C-AA70-82E41C4334E5}">
      <dgm:prSet/>
      <dgm:spPr/>
      <dgm:t>
        <a:bodyPr/>
        <a:lstStyle/>
        <a:p>
          <a:endParaRPr lang="fr-FR"/>
        </a:p>
      </dgm:t>
    </dgm:pt>
    <dgm:pt modelId="{E5177CCC-3767-4E25-A46E-1562801C086B}" type="sibTrans" cxnId="{C5F0518B-816C-479C-AA70-82E41C4334E5}">
      <dgm:prSet/>
      <dgm:spPr/>
      <dgm:t>
        <a:bodyPr/>
        <a:lstStyle/>
        <a:p>
          <a:endParaRPr lang="fr-FR"/>
        </a:p>
      </dgm:t>
    </dgm:pt>
    <dgm:pt modelId="{0DE7A5BA-9434-4AB7-A1E4-6E10401ED059}">
      <dgm:prSet phldrT="[Texte]" custT="1"/>
      <dgm:spPr/>
      <dgm:t>
        <a:bodyPr/>
        <a:lstStyle/>
        <a:p>
          <a:r>
            <a:rPr lang="fr-FR" sz="900" dirty="0"/>
            <a:t>Zones = </a:t>
          </a:r>
          <a:r>
            <a:rPr lang="fr-FR" sz="900" dirty="0" err="1"/>
            <a:t>Autigny</a:t>
          </a:r>
          <a:r>
            <a:rPr lang="fr-FR" sz="900" dirty="0"/>
            <a:t>, </a:t>
          </a:r>
          <a:r>
            <a:rPr lang="fr-FR" sz="900" dirty="0" err="1"/>
            <a:t>Chénens</a:t>
          </a:r>
          <a:r>
            <a:rPr lang="fr-FR" sz="900" dirty="0"/>
            <a:t>, </a:t>
          </a:r>
          <a:r>
            <a:rPr lang="fr-FR" sz="900" dirty="0" err="1"/>
            <a:t>Cottens</a:t>
          </a:r>
          <a:r>
            <a:rPr lang="fr-FR" sz="900" dirty="0"/>
            <a:t>, La </a:t>
          </a:r>
          <a:r>
            <a:rPr lang="fr-FR" sz="900" dirty="0" err="1"/>
            <a:t>Brillaz</a:t>
          </a:r>
          <a:r>
            <a:rPr lang="fr-FR" sz="900" dirty="0"/>
            <a:t>, </a:t>
          </a:r>
          <a:r>
            <a:rPr lang="fr-FR" sz="900" dirty="0" err="1"/>
            <a:t>Corserey</a:t>
          </a:r>
          <a:r>
            <a:rPr lang="fr-FR" sz="900" dirty="0"/>
            <a:t> (ECAB) (+ </a:t>
          </a:r>
          <a:r>
            <a:rPr lang="fr-FR" sz="900" dirty="0" err="1"/>
            <a:t>Glâne</a:t>
          </a:r>
          <a:r>
            <a:rPr lang="fr-FR" sz="900" dirty="0"/>
            <a:t> Nord en P1 et P2)</a:t>
          </a:r>
          <a:endParaRPr lang="fr-FR" sz="900" b="1" dirty="0"/>
        </a:p>
      </dgm:t>
    </dgm:pt>
    <dgm:pt modelId="{06B37A8F-4BCE-4AE2-B421-9A5BA06ED7AA}" type="parTrans" cxnId="{F9951B68-BFA6-472F-90DD-08B12265A3C3}">
      <dgm:prSet/>
      <dgm:spPr/>
      <dgm:t>
        <a:bodyPr/>
        <a:lstStyle/>
        <a:p>
          <a:endParaRPr lang="fr-FR"/>
        </a:p>
      </dgm:t>
    </dgm:pt>
    <dgm:pt modelId="{A1752161-057E-46D1-A712-B789942116A6}" type="sibTrans" cxnId="{F9951B68-BFA6-472F-90DD-08B12265A3C3}">
      <dgm:prSet/>
      <dgm:spPr/>
      <dgm:t>
        <a:bodyPr/>
        <a:lstStyle/>
        <a:p>
          <a:endParaRPr lang="fr-FR"/>
        </a:p>
      </dgm:t>
    </dgm:pt>
    <dgm:pt modelId="{F17FEFC9-D17F-48B1-8C3F-68E9DC90A5FB}">
      <dgm:prSet custT="1"/>
      <dgm:spPr/>
      <dgm:t>
        <a:bodyPr/>
        <a:lstStyle/>
        <a:p>
          <a:r>
            <a:rPr lang="fr-FR" sz="900" dirty="0"/>
            <a:t>Casernes louée = </a:t>
          </a:r>
          <a:r>
            <a:rPr lang="fr-FR" sz="900" dirty="0" err="1"/>
            <a:t>Chénens</a:t>
          </a:r>
          <a:endParaRPr lang="fr-FR" sz="900" dirty="0">
            <a:solidFill>
              <a:srgbClr val="00497C"/>
            </a:solidFill>
          </a:endParaRPr>
        </a:p>
      </dgm:t>
    </dgm:pt>
    <dgm:pt modelId="{6F9D3D49-50EA-4A04-9044-70F1024C84E3}" type="parTrans" cxnId="{3221270F-91AB-48C1-9413-AFFA606206C1}">
      <dgm:prSet/>
      <dgm:spPr/>
      <dgm:t>
        <a:bodyPr/>
        <a:lstStyle/>
        <a:p>
          <a:endParaRPr lang="fr-FR"/>
        </a:p>
      </dgm:t>
    </dgm:pt>
    <dgm:pt modelId="{64B6DDA4-0C9B-4C03-831D-2B9378C707EF}" type="sibTrans" cxnId="{3221270F-91AB-48C1-9413-AFFA606206C1}">
      <dgm:prSet/>
      <dgm:spPr/>
      <dgm:t>
        <a:bodyPr/>
        <a:lstStyle/>
        <a:p>
          <a:endParaRPr lang="fr-FR"/>
        </a:p>
      </dgm:t>
    </dgm:pt>
    <dgm:pt modelId="{CB047170-03CC-4F8C-877D-1FEFE6363A4D}" type="pres">
      <dgm:prSet presAssocID="{30FE47B1-CDE1-4A5B-B79B-FB1868EADFD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CE1AA6BB-472C-45A6-813A-216B9132E10B}" type="pres">
      <dgm:prSet presAssocID="{C06F7057-5F1C-4895-9DB6-3E8C190B3730}" presName="linNode" presStyleCnt="0"/>
      <dgm:spPr/>
    </dgm:pt>
    <dgm:pt modelId="{9B082B54-4E22-4E5E-A647-5A0F64D0ACEE}" type="pres">
      <dgm:prSet presAssocID="{C06F7057-5F1C-4895-9DB6-3E8C190B3730}" presName="parentText" presStyleLbl="node1" presStyleIdx="0" presStyleCnt="8" custScaleX="5257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A21165E-94ED-42D5-AAB0-70143FB6B899}" type="pres">
      <dgm:prSet presAssocID="{C06F7057-5F1C-4895-9DB6-3E8C190B3730}" presName="descendantText" presStyleLbl="alignAccFollowNode1" presStyleIdx="0" presStyleCnt="8" custScaleX="11161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E825378-B177-4D79-A84C-A3C0A7352528}" type="pres">
      <dgm:prSet presAssocID="{ED31DC63-8317-4C58-B7C9-F933CBAD99A2}" presName="sp" presStyleCnt="0"/>
      <dgm:spPr/>
    </dgm:pt>
    <dgm:pt modelId="{97C89DCF-B4C6-4971-B713-68F9F03A50D8}" type="pres">
      <dgm:prSet presAssocID="{330B167B-FD4E-4424-93C0-4AEADABCB4CC}" presName="linNode" presStyleCnt="0"/>
      <dgm:spPr/>
    </dgm:pt>
    <dgm:pt modelId="{8F8F6136-C659-4637-9086-D19EF26548E7}" type="pres">
      <dgm:prSet presAssocID="{330B167B-FD4E-4424-93C0-4AEADABCB4CC}" presName="parentText" presStyleLbl="node1" presStyleIdx="1" presStyleCnt="8" custScaleX="5257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249A9E2-5D6D-489C-B8C8-4FD8963DCF0F}" type="pres">
      <dgm:prSet presAssocID="{330B167B-FD4E-4424-93C0-4AEADABCB4CC}" presName="descendantText" presStyleLbl="alignAccFollowNode1" presStyleIdx="1" presStyleCnt="8" custScaleX="11161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65575CF-09E9-4958-A587-8DFA76781826}" type="pres">
      <dgm:prSet presAssocID="{9DA47619-F25F-45C5-A86C-46253784D598}" presName="sp" presStyleCnt="0"/>
      <dgm:spPr/>
    </dgm:pt>
    <dgm:pt modelId="{B25415E7-797E-48DD-B7A0-ADCD798C1FFE}" type="pres">
      <dgm:prSet presAssocID="{E66E3CE3-D11A-4AC2-B6FA-C75A94851866}" presName="linNode" presStyleCnt="0"/>
      <dgm:spPr/>
    </dgm:pt>
    <dgm:pt modelId="{24297250-792E-40E4-8A36-1BB4B66BB049}" type="pres">
      <dgm:prSet presAssocID="{E66E3CE3-D11A-4AC2-B6FA-C75A94851866}" presName="parentText" presStyleLbl="node1" presStyleIdx="2" presStyleCnt="8" custScaleX="5257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3F3056D-185C-4DBC-A070-D58CB93AAAFF}" type="pres">
      <dgm:prSet presAssocID="{E66E3CE3-D11A-4AC2-B6FA-C75A94851866}" presName="descendantText" presStyleLbl="alignAccFollowNode1" presStyleIdx="2" presStyleCnt="8" custScaleX="11161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7C9D6CF-6D2E-480F-82B9-41ABB2D6AF3B}" type="pres">
      <dgm:prSet presAssocID="{0DA2D17E-36E8-4251-B6E2-2DE923B0295B}" presName="sp" presStyleCnt="0"/>
      <dgm:spPr/>
    </dgm:pt>
    <dgm:pt modelId="{48D0C0E3-2A79-4F38-8A2A-5CB46328C72A}" type="pres">
      <dgm:prSet presAssocID="{3100BD6D-7F62-4D4B-B265-0098E91C4252}" presName="linNode" presStyleCnt="0"/>
      <dgm:spPr/>
    </dgm:pt>
    <dgm:pt modelId="{3A0C5B24-D270-4D19-AFD4-2BFA88FE90C6}" type="pres">
      <dgm:prSet presAssocID="{3100BD6D-7F62-4D4B-B265-0098E91C4252}" presName="parentText" presStyleLbl="node1" presStyleIdx="3" presStyleCnt="8" custScaleX="5257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E555489-EDA6-4F34-BD2F-9E329EFC2F08}" type="pres">
      <dgm:prSet presAssocID="{3100BD6D-7F62-4D4B-B265-0098E91C4252}" presName="descendantText" presStyleLbl="alignAccFollowNode1" presStyleIdx="3" presStyleCnt="8" custScaleX="11161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57AB888-D74D-4F12-BDC5-7FB996B2CC6D}" type="pres">
      <dgm:prSet presAssocID="{EC1218E6-DDB1-4292-BB44-9A0AB399FBEE}" presName="sp" presStyleCnt="0"/>
      <dgm:spPr/>
    </dgm:pt>
    <dgm:pt modelId="{937FB65D-0B70-4283-935F-10729DB7A918}" type="pres">
      <dgm:prSet presAssocID="{4B052D83-B45F-43DA-9198-638D4E86BFF4}" presName="linNode" presStyleCnt="0"/>
      <dgm:spPr/>
    </dgm:pt>
    <dgm:pt modelId="{08C38572-7F46-44F6-A1CC-0C98EB97F376}" type="pres">
      <dgm:prSet presAssocID="{4B052D83-B45F-43DA-9198-638D4E86BFF4}" presName="parentText" presStyleLbl="node1" presStyleIdx="4" presStyleCnt="8" custScaleX="5257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1CC49FE-3EB5-4F6C-86AC-7D6753766BE2}" type="pres">
      <dgm:prSet presAssocID="{4B052D83-B45F-43DA-9198-638D4E86BFF4}" presName="descendantText" presStyleLbl="alignAccFollowNode1" presStyleIdx="4" presStyleCnt="8" custScaleX="11161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B5678D3-F358-47E6-87A9-C90B5BD15B98}" type="pres">
      <dgm:prSet presAssocID="{B182B818-97BB-45EA-9FA0-E2F9FB89DFC2}" presName="sp" presStyleCnt="0"/>
      <dgm:spPr/>
    </dgm:pt>
    <dgm:pt modelId="{CBBB2110-5DFE-4083-A0EE-C6DBCEC5DD7B}" type="pres">
      <dgm:prSet presAssocID="{58CAC456-C6A3-403F-8104-EB18D449788A}" presName="linNode" presStyleCnt="0"/>
      <dgm:spPr/>
    </dgm:pt>
    <dgm:pt modelId="{D426438B-28F1-4F2D-A50D-948324D3A876}" type="pres">
      <dgm:prSet presAssocID="{58CAC456-C6A3-403F-8104-EB18D449788A}" presName="parentText" presStyleLbl="node1" presStyleIdx="5" presStyleCnt="8" custScaleX="5257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3F59CCF-98FF-4712-AE23-C3771A1CC8AA}" type="pres">
      <dgm:prSet presAssocID="{58CAC456-C6A3-403F-8104-EB18D449788A}" presName="descendantText" presStyleLbl="alignAccFollowNode1" presStyleIdx="5" presStyleCnt="8" custScaleX="11161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9875A3A-AEE9-4BA1-93F5-515C471F2A33}" type="pres">
      <dgm:prSet presAssocID="{3AC8F923-904A-4DBA-A1D4-359DC63F5BCF}" presName="sp" presStyleCnt="0"/>
      <dgm:spPr/>
    </dgm:pt>
    <dgm:pt modelId="{E34F6116-B1B6-45EF-BE0A-BB81D2290A00}" type="pres">
      <dgm:prSet presAssocID="{3C2A9896-AA4E-461E-A63F-E588FE06E134}" presName="linNode" presStyleCnt="0"/>
      <dgm:spPr/>
    </dgm:pt>
    <dgm:pt modelId="{A2F33C99-1094-4E38-AC33-46A09BD659BA}" type="pres">
      <dgm:prSet presAssocID="{3C2A9896-AA4E-461E-A63F-E588FE06E134}" presName="parentText" presStyleLbl="node1" presStyleIdx="6" presStyleCnt="8" custScaleX="5257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1326263-A2A7-4426-8FCA-D991D774FE79}" type="pres">
      <dgm:prSet presAssocID="{3C2A9896-AA4E-461E-A63F-E588FE06E134}" presName="descendantText" presStyleLbl="alignAccFollowNode1" presStyleIdx="6" presStyleCnt="8" custScaleX="11161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F24C86D-8BC7-4A7F-B10D-FE4CB38FDE34}" type="pres">
      <dgm:prSet presAssocID="{8DEC5AA8-E9EB-4A34-86AD-7CBCF78DB533}" presName="sp" presStyleCnt="0"/>
      <dgm:spPr/>
    </dgm:pt>
    <dgm:pt modelId="{CB2BE502-1A3B-405E-8E0F-EFF9FBC43DA9}" type="pres">
      <dgm:prSet presAssocID="{443CA420-7640-4E7D-91E6-4E26371A0EFB}" presName="linNode" presStyleCnt="0"/>
      <dgm:spPr/>
    </dgm:pt>
    <dgm:pt modelId="{D37CD04A-2A3D-472D-99B6-D1FAF90477B4}" type="pres">
      <dgm:prSet presAssocID="{443CA420-7640-4E7D-91E6-4E26371A0EFB}" presName="parentText" presStyleLbl="node1" presStyleIdx="7" presStyleCnt="8" custScaleX="5257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BEB0A0D-4892-4F0E-8F50-0E71D70F5A79}" type="pres">
      <dgm:prSet presAssocID="{443CA420-7640-4E7D-91E6-4E26371A0EFB}" presName="descendantText" presStyleLbl="alignAccFollowNode1" presStyleIdx="7" presStyleCnt="8" custScaleX="11161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16ECD47-5564-4C96-BAC5-F41F8C61A628}" type="presOf" srcId="{0F5BF269-C494-4E75-9D34-553EF70D14AC}" destId="{93F3056D-185C-4DBC-A070-D58CB93AAAFF}" srcOrd="0" destOrd="0" presId="urn:microsoft.com/office/officeart/2005/8/layout/vList5"/>
    <dgm:cxn modelId="{E8BE70F7-6A96-414D-B5D2-2F73050CD6B5}" srcId="{30FE47B1-CDE1-4A5B-B79B-FB1868EADFDC}" destId="{58CAC456-C6A3-403F-8104-EB18D449788A}" srcOrd="5" destOrd="0" parTransId="{9E903CAB-9C86-4423-8E56-59C6218F070F}" sibTransId="{3AC8F923-904A-4DBA-A1D4-359DC63F5BCF}"/>
    <dgm:cxn modelId="{10B8EA13-9E29-49CE-B9BD-B41C38754CDE}" srcId="{3100BD6D-7F62-4D4B-B265-0098E91C4252}" destId="{69E9AF89-35B2-485D-8F4B-108AD90B9EAE}" srcOrd="0" destOrd="0" parTransId="{01E24BEA-958D-424B-9587-A07174A8B769}" sibTransId="{9E41305F-7E3C-44E5-AFEB-06AA9756E814}"/>
    <dgm:cxn modelId="{3221270F-91AB-48C1-9413-AFFA606206C1}" srcId="{443CA420-7640-4E7D-91E6-4E26371A0EFB}" destId="{F17FEFC9-D17F-48B1-8C3F-68E9DC90A5FB}" srcOrd="1" destOrd="0" parTransId="{6F9D3D49-50EA-4A04-9044-70F1024C84E3}" sibTransId="{64B6DDA4-0C9B-4C03-831D-2B9378C707EF}"/>
    <dgm:cxn modelId="{23ED1B5E-0914-457B-8FF1-C08BEA39B42B}" type="presOf" srcId="{F17FEFC9-D17F-48B1-8C3F-68E9DC90A5FB}" destId="{9BEB0A0D-4892-4F0E-8F50-0E71D70F5A79}" srcOrd="0" destOrd="1" presId="urn:microsoft.com/office/officeart/2005/8/layout/vList5"/>
    <dgm:cxn modelId="{F02A3F19-30ED-4B99-B428-BC0061B102AE}" srcId="{30FE47B1-CDE1-4A5B-B79B-FB1868EADFDC}" destId="{443CA420-7640-4E7D-91E6-4E26371A0EFB}" srcOrd="7" destOrd="0" parTransId="{2E4CCF4B-725A-4F2B-B478-5AAB6967232F}" sibTransId="{7AFFAF44-630E-4C97-9D4E-53312760BC37}"/>
    <dgm:cxn modelId="{AFEDA440-F888-4468-9502-39E1517E8D65}" srcId="{4B052D83-B45F-43DA-9198-638D4E86BFF4}" destId="{B40501A9-E6B6-41DF-9545-74F2E8EC3C27}" srcOrd="1" destOrd="0" parTransId="{E23F4F4C-7DFE-48A5-84B9-AECB4E205AF7}" sibTransId="{A9F860C2-1ED4-4ED0-AD4B-339BD64A105F}"/>
    <dgm:cxn modelId="{474C01AB-75A3-4E92-BF13-F0D5AC36EB16}" srcId="{C06F7057-5F1C-4895-9DB6-3E8C190B3730}" destId="{78BBB17B-3D83-4761-A8AF-3EB4861BCD6C}" srcOrd="1" destOrd="0" parTransId="{9432F762-3291-40DA-84B5-69E56A6250BC}" sibTransId="{2F01851F-CB90-429A-926E-183898EFD9CF}"/>
    <dgm:cxn modelId="{8551681D-BE1E-400A-9105-475305838FCC}" srcId="{30FE47B1-CDE1-4A5B-B79B-FB1868EADFDC}" destId="{330B167B-FD4E-4424-93C0-4AEADABCB4CC}" srcOrd="1" destOrd="0" parTransId="{E496A1AA-4345-48D8-B6FC-F8CC2382F5B6}" sibTransId="{9DA47619-F25F-45C5-A86C-46253784D598}"/>
    <dgm:cxn modelId="{E2A97A17-9433-45AB-9042-76E9FC7373E8}" type="presOf" srcId="{49957ECD-513A-45C0-9634-53355977E9D6}" destId="{31CC49FE-3EB5-4F6C-86AC-7D6753766BE2}" srcOrd="0" destOrd="0" presId="urn:microsoft.com/office/officeart/2005/8/layout/vList5"/>
    <dgm:cxn modelId="{C9C4B872-3DB2-421F-A667-87B71A9DC1BC}" srcId="{C06F7057-5F1C-4895-9DB6-3E8C190B3730}" destId="{5E9448B8-C496-4CD7-B979-3C31CF16198D}" srcOrd="0" destOrd="0" parTransId="{45590E2E-8E63-43AF-8312-DB59F9E22A56}" sibTransId="{B3419D26-C8EC-41B7-A1CB-B298B90012EB}"/>
    <dgm:cxn modelId="{AF1FB9A9-2943-42F3-A8D6-357C45C39E19}" type="presOf" srcId="{3100BD6D-7F62-4D4B-B265-0098E91C4252}" destId="{3A0C5B24-D270-4D19-AFD4-2BFA88FE90C6}" srcOrd="0" destOrd="0" presId="urn:microsoft.com/office/officeart/2005/8/layout/vList5"/>
    <dgm:cxn modelId="{63552ABC-8B57-4E77-973A-88C6606B3D8C}" srcId="{30FE47B1-CDE1-4A5B-B79B-FB1868EADFDC}" destId="{3100BD6D-7F62-4D4B-B265-0098E91C4252}" srcOrd="3" destOrd="0" parTransId="{D84E54CD-4E8E-4CE0-8F00-1DC6A4E407CF}" sibTransId="{EC1218E6-DDB1-4292-BB44-9A0AB399FBEE}"/>
    <dgm:cxn modelId="{2C432A7B-B813-4AF6-86B7-1A63E7CF4CD4}" type="presOf" srcId="{B40501A9-E6B6-41DF-9545-74F2E8EC3C27}" destId="{31CC49FE-3EB5-4F6C-86AC-7D6753766BE2}" srcOrd="0" destOrd="1" presId="urn:microsoft.com/office/officeart/2005/8/layout/vList5"/>
    <dgm:cxn modelId="{E19397DD-4BD3-47AB-97A6-8B747F3FB6A2}" type="presOf" srcId="{78BBB17B-3D83-4761-A8AF-3EB4861BCD6C}" destId="{AA21165E-94ED-42D5-AAB0-70143FB6B899}" srcOrd="0" destOrd="1" presId="urn:microsoft.com/office/officeart/2005/8/layout/vList5"/>
    <dgm:cxn modelId="{C139F860-9A42-43F3-948E-F2DD5980AC66}" srcId="{3100BD6D-7F62-4D4B-B265-0098E91C4252}" destId="{16EBDD09-B7E7-4D2F-A59F-FEE3770509D6}" srcOrd="1" destOrd="0" parTransId="{9441780E-0050-495E-A4C4-8179FD285058}" sibTransId="{485AA1DA-532A-4D66-B339-58DB88F2B79A}"/>
    <dgm:cxn modelId="{7BF11B03-9755-4BAD-B07C-B7CE020E7342}" srcId="{E66E3CE3-D11A-4AC2-B6FA-C75A94851866}" destId="{0F5BF269-C494-4E75-9D34-553EF70D14AC}" srcOrd="0" destOrd="0" parTransId="{EF4DD097-0294-47C0-95E1-7BFD4849EDA2}" sibTransId="{148B4C5E-B8E4-4C75-BC89-2E9BFA9A6B0D}"/>
    <dgm:cxn modelId="{5F0ADE1E-10DD-41A1-B0DC-AD077EFDF5D2}" type="presOf" srcId="{30FE47B1-CDE1-4A5B-B79B-FB1868EADFDC}" destId="{CB047170-03CC-4F8C-877D-1FEFE6363A4D}" srcOrd="0" destOrd="0" presId="urn:microsoft.com/office/officeart/2005/8/layout/vList5"/>
    <dgm:cxn modelId="{F9951B68-BFA6-472F-90DD-08B12265A3C3}" srcId="{443CA420-7640-4E7D-91E6-4E26371A0EFB}" destId="{0DE7A5BA-9434-4AB7-A1E4-6E10401ED059}" srcOrd="0" destOrd="0" parTransId="{06B37A8F-4BCE-4AE2-B421-9A5BA06ED7AA}" sibTransId="{A1752161-057E-46D1-A712-B789942116A6}"/>
    <dgm:cxn modelId="{C55B3237-1753-42AB-BD4D-CF27B16769AB}" type="presOf" srcId="{0DE7A5BA-9434-4AB7-A1E4-6E10401ED059}" destId="{9BEB0A0D-4892-4F0E-8F50-0E71D70F5A79}" srcOrd="0" destOrd="0" presId="urn:microsoft.com/office/officeart/2005/8/layout/vList5"/>
    <dgm:cxn modelId="{DF984F55-B794-4503-8C37-5FEA7807A878}" type="presOf" srcId="{330B167B-FD4E-4424-93C0-4AEADABCB4CC}" destId="{8F8F6136-C659-4637-9086-D19EF26548E7}" srcOrd="0" destOrd="0" presId="urn:microsoft.com/office/officeart/2005/8/layout/vList5"/>
    <dgm:cxn modelId="{F3DD05E2-D7FB-4DB3-961D-19ACD8D79C4A}" srcId="{30FE47B1-CDE1-4A5B-B79B-FB1868EADFDC}" destId="{E66E3CE3-D11A-4AC2-B6FA-C75A94851866}" srcOrd="2" destOrd="0" parTransId="{C05A2B72-FBA5-4C4A-97A7-4619339BF17E}" sibTransId="{0DA2D17E-36E8-4251-B6E2-2DE923B0295B}"/>
    <dgm:cxn modelId="{D6E354E2-4C60-438F-8668-65401EFBADA9}" type="presOf" srcId="{32A06172-DCE0-438B-A983-16D54AED2712}" destId="{63F59CCF-98FF-4712-AE23-C3771A1CC8AA}" srcOrd="0" destOrd="1" presId="urn:microsoft.com/office/officeart/2005/8/layout/vList5"/>
    <dgm:cxn modelId="{DE85EE08-B90F-4C97-827E-658E2632FABF}" srcId="{58CAC456-C6A3-403F-8104-EB18D449788A}" destId="{3E42E688-582D-453B-B68C-51560996EA44}" srcOrd="0" destOrd="0" parTransId="{389E8D4F-31A6-47B4-B52B-5AA792BD7030}" sibTransId="{2885259C-A599-460D-921D-D80308918C44}"/>
    <dgm:cxn modelId="{930B8F38-08D3-4443-8810-7A389B1B9EB8}" srcId="{330B167B-FD4E-4424-93C0-4AEADABCB4CC}" destId="{5972B689-4DA4-40E1-82CD-6583B8127E64}" srcOrd="1" destOrd="0" parTransId="{B4C37BEC-7B39-46A3-B89B-F5CEFC216B82}" sibTransId="{995CE18E-17C9-47D1-BA4E-94362B6FB35E}"/>
    <dgm:cxn modelId="{5875BD86-D7EC-4739-BBA8-1921DE0CC7CC}" type="presOf" srcId="{58CAC456-C6A3-403F-8104-EB18D449788A}" destId="{D426438B-28F1-4F2D-A50D-948324D3A876}" srcOrd="0" destOrd="0" presId="urn:microsoft.com/office/officeart/2005/8/layout/vList5"/>
    <dgm:cxn modelId="{3E2556F1-C4FE-4D8C-B2BF-64F4B5554140}" srcId="{58CAC456-C6A3-403F-8104-EB18D449788A}" destId="{32A06172-DCE0-438B-A983-16D54AED2712}" srcOrd="1" destOrd="0" parTransId="{130987FD-8B46-4B3B-A888-91AF8D542B09}" sibTransId="{99CFC27E-A0AD-44E4-9F6E-A14A18C326C4}"/>
    <dgm:cxn modelId="{67F48C41-370F-4A62-B28E-A4727A99F84F}" srcId="{4B052D83-B45F-43DA-9198-638D4E86BFF4}" destId="{49957ECD-513A-45C0-9634-53355977E9D6}" srcOrd="0" destOrd="0" parTransId="{29F8FA51-C067-4D42-9945-53687B0FD832}" sibTransId="{93344734-E379-4190-9E08-73E24E90B68E}"/>
    <dgm:cxn modelId="{456A2360-ED7F-4323-96CA-FE5F4667980A}" srcId="{E66E3CE3-D11A-4AC2-B6FA-C75A94851866}" destId="{45C803F4-2326-4F56-ABB3-1E0E02B22A1B}" srcOrd="1" destOrd="0" parTransId="{7A971E0C-6868-4011-A0FE-B635BFE338EB}" sibTransId="{265BCFA5-51B2-4AFF-B81C-474EC6E2C4A4}"/>
    <dgm:cxn modelId="{A2ED07D9-EDB2-4C98-AC4A-989A5C09929B}" type="presOf" srcId="{3C2A9896-AA4E-461E-A63F-E588FE06E134}" destId="{A2F33C99-1094-4E38-AC33-46A09BD659BA}" srcOrd="0" destOrd="0" presId="urn:microsoft.com/office/officeart/2005/8/layout/vList5"/>
    <dgm:cxn modelId="{376D4060-23BF-45B7-B998-29EE6FFAAFEB}" srcId="{3C2A9896-AA4E-461E-A63F-E588FE06E134}" destId="{D6180FC7-DCEB-4B28-90F9-C426C84623A9}" srcOrd="0" destOrd="0" parTransId="{5D8CACA9-393B-41A6-B1AE-E2920D81D650}" sibTransId="{24935F9E-471B-4FD1-8233-F1C5BD6468E6}"/>
    <dgm:cxn modelId="{3C4A8555-7AB3-459A-AACA-3605B7D9BBE2}" srcId="{30FE47B1-CDE1-4A5B-B79B-FB1868EADFDC}" destId="{3C2A9896-AA4E-461E-A63F-E588FE06E134}" srcOrd="6" destOrd="0" parTransId="{3C1C60FC-4965-4FBB-BB13-F6A2C4C171C2}" sibTransId="{8DEC5AA8-E9EB-4A34-86AD-7CBCF78DB533}"/>
    <dgm:cxn modelId="{4CE648FC-CCBE-4D7C-A751-0A2486565756}" type="presOf" srcId="{C06F7057-5F1C-4895-9DB6-3E8C190B3730}" destId="{9B082B54-4E22-4E5E-A647-5A0F64D0ACEE}" srcOrd="0" destOrd="0" presId="urn:microsoft.com/office/officeart/2005/8/layout/vList5"/>
    <dgm:cxn modelId="{4AE948B9-BCB1-4300-964B-E160AEFD9619}" type="presOf" srcId="{D6180FC7-DCEB-4B28-90F9-C426C84623A9}" destId="{01326263-A2A7-4426-8FCA-D991D774FE79}" srcOrd="0" destOrd="0" presId="urn:microsoft.com/office/officeart/2005/8/layout/vList5"/>
    <dgm:cxn modelId="{465045CD-6ED8-4B3C-9DFF-400BA4BA82E5}" type="presOf" srcId="{16EBDD09-B7E7-4D2F-A59F-FEE3770509D6}" destId="{2E555489-EDA6-4F34-BD2F-9E329EFC2F08}" srcOrd="0" destOrd="1" presId="urn:microsoft.com/office/officeart/2005/8/layout/vList5"/>
    <dgm:cxn modelId="{136B433D-4528-4078-9251-7BB956109AE8}" type="presOf" srcId="{FE0F3167-C424-4C9A-9772-26F44561D991}" destId="{A249A9E2-5D6D-489C-B8C8-4FD8963DCF0F}" srcOrd="0" destOrd="0" presId="urn:microsoft.com/office/officeart/2005/8/layout/vList5"/>
    <dgm:cxn modelId="{C5A95DDB-1C51-4BCF-830C-28A1C6838AB4}" srcId="{30FE47B1-CDE1-4A5B-B79B-FB1868EADFDC}" destId="{C06F7057-5F1C-4895-9DB6-3E8C190B3730}" srcOrd="0" destOrd="0" parTransId="{F84B3390-4EF1-4D97-916B-DDED01E75ACD}" sibTransId="{ED31DC63-8317-4C58-B7C9-F933CBAD99A2}"/>
    <dgm:cxn modelId="{9E288E3B-D46E-48BA-BCFE-B33312E624C3}" type="presOf" srcId="{5E9448B8-C496-4CD7-B979-3C31CF16198D}" destId="{AA21165E-94ED-42D5-AAB0-70143FB6B899}" srcOrd="0" destOrd="0" presId="urn:microsoft.com/office/officeart/2005/8/layout/vList5"/>
    <dgm:cxn modelId="{3C0E5DBB-4CD2-4D78-BEC4-23F543932E94}" type="presOf" srcId="{3E42E688-582D-453B-B68C-51560996EA44}" destId="{63F59CCF-98FF-4712-AE23-C3771A1CC8AA}" srcOrd="0" destOrd="0" presId="urn:microsoft.com/office/officeart/2005/8/layout/vList5"/>
    <dgm:cxn modelId="{C5F0518B-816C-479C-AA70-82E41C4334E5}" srcId="{3C2A9896-AA4E-461E-A63F-E588FE06E134}" destId="{AC4CDC41-048C-4056-A177-D454C7C7E3A1}" srcOrd="1" destOrd="0" parTransId="{D4C1D542-604F-4A3C-8EDA-A83BE7FEC693}" sibTransId="{E5177CCC-3767-4E25-A46E-1562801C086B}"/>
    <dgm:cxn modelId="{4B38A277-CB8E-4176-B4A8-55FD90CC6A68}" type="presOf" srcId="{AC4CDC41-048C-4056-A177-D454C7C7E3A1}" destId="{01326263-A2A7-4426-8FCA-D991D774FE79}" srcOrd="0" destOrd="1" presId="urn:microsoft.com/office/officeart/2005/8/layout/vList5"/>
    <dgm:cxn modelId="{EC469F1E-C189-4FC5-98FD-970AC6766D38}" type="presOf" srcId="{4B052D83-B45F-43DA-9198-638D4E86BFF4}" destId="{08C38572-7F46-44F6-A1CC-0C98EB97F376}" srcOrd="0" destOrd="0" presId="urn:microsoft.com/office/officeart/2005/8/layout/vList5"/>
    <dgm:cxn modelId="{25A8E6AE-C168-47F8-9580-3B9575F9BA7A}" srcId="{330B167B-FD4E-4424-93C0-4AEADABCB4CC}" destId="{FE0F3167-C424-4C9A-9772-26F44561D991}" srcOrd="0" destOrd="0" parTransId="{A4B7C16E-369C-4F77-A341-1FDCA5B92F71}" sibTransId="{B3628928-45BC-49B8-8B5A-4ADE2A2849A4}"/>
    <dgm:cxn modelId="{0173F80E-BB3B-498D-A98E-9F3710928474}" type="presOf" srcId="{443CA420-7640-4E7D-91E6-4E26371A0EFB}" destId="{D37CD04A-2A3D-472D-99B6-D1FAF90477B4}" srcOrd="0" destOrd="0" presId="urn:microsoft.com/office/officeart/2005/8/layout/vList5"/>
    <dgm:cxn modelId="{4F04A253-D254-4377-B087-5B4C44A02900}" type="presOf" srcId="{45C803F4-2326-4F56-ABB3-1E0E02B22A1B}" destId="{93F3056D-185C-4DBC-A070-D58CB93AAAFF}" srcOrd="0" destOrd="1" presId="urn:microsoft.com/office/officeart/2005/8/layout/vList5"/>
    <dgm:cxn modelId="{4FEC86DB-6EE7-45FE-BB5C-77863D90FA8C}" type="presOf" srcId="{69E9AF89-35B2-485D-8F4B-108AD90B9EAE}" destId="{2E555489-EDA6-4F34-BD2F-9E329EFC2F08}" srcOrd="0" destOrd="0" presId="urn:microsoft.com/office/officeart/2005/8/layout/vList5"/>
    <dgm:cxn modelId="{F4D2F954-C6F8-4299-AAE0-6FA032EF8464}" srcId="{30FE47B1-CDE1-4A5B-B79B-FB1868EADFDC}" destId="{4B052D83-B45F-43DA-9198-638D4E86BFF4}" srcOrd="4" destOrd="0" parTransId="{94567882-8AFF-46B7-9839-3E6B240E5F60}" sibTransId="{B182B818-97BB-45EA-9FA0-E2F9FB89DFC2}"/>
    <dgm:cxn modelId="{7E120745-30B3-4730-AED6-09F1553DF0CF}" type="presOf" srcId="{E66E3CE3-D11A-4AC2-B6FA-C75A94851866}" destId="{24297250-792E-40E4-8A36-1BB4B66BB049}" srcOrd="0" destOrd="0" presId="urn:microsoft.com/office/officeart/2005/8/layout/vList5"/>
    <dgm:cxn modelId="{C27BCAE5-FFE4-41FF-A64E-47D85DAC89AE}" type="presOf" srcId="{5972B689-4DA4-40E1-82CD-6583B8127E64}" destId="{A249A9E2-5D6D-489C-B8C8-4FD8963DCF0F}" srcOrd="0" destOrd="1" presId="urn:microsoft.com/office/officeart/2005/8/layout/vList5"/>
    <dgm:cxn modelId="{D87A8303-F06D-4569-B681-EAC59677645B}" type="presParOf" srcId="{CB047170-03CC-4F8C-877D-1FEFE6363A4D}" destId="{CE1AA6BB-472C-45A6-813A-216B9132E10B}" srcOrd="0" destOrd="0" presId="urn:microsoft.com/office/officeart/2005/8/layout/vList5"/>
    <dgm:cxn modelId="{862399DA-73F7-4330-B8E8-153A839616F7}" type="presParOf" srcId="{CE1AA6BB-472C-45A6-813A-216B9132E10B}" destId="{9B082B54-4E22-4E5E-A647-5A0F64D0ACEE}" srcOrd="0" destOrd="0" presId="urn:microsoft.com/office/officeart/2005/8/layout/vList5"/>
    <dgm:cxn modelId="{C56F2097-81C5-4340-850C-33049A663179}" type="presParOf" srcId="{CE1AA6BB-472C-45A6-813A-216B9132E10B}" destId="{AA21165E-94ED-42D5-AAB0-70143FB6B899}" srcOrd="1" destOrd="0" presId="urn:microsoft.com/office/officeart/2005/8/layout/vList5"/>
    <dgm:cxn modelId="{593B0C55-B7DE-46C9-ADCA-F81A818D094D}" type="presParOf" srcId="{CB047170-03CC-4F8C-877D-1FEFE6363A4D}" destId="{3E825378-B177-4D79-A84C-A3C0A7352528}" srcOrd="1" destOrd="0" presId="urn:microsoft.com/office/officeart/2005/8/layout/vList5"/>
    <dgm:cxn modelId="{39E78716-828F-429B-BB80-A89CAE4D06C5}" type="presParOf" srcId="{CB047170-03CC-4F8C-877D-1FEFE6363A4D}" destId="{97C89DCF-B4C6-4971-B713-68F9F03A50D8}" srcOrd="2" destOrd="0" presId="urn:microsoft.com/office/officeart/2005/8/layout/vList5"/>
    <dgm:cxn modelId="{CE2227CE-6220-4C33-A321-5F12CF454FDC}" type="presParOf" srcId="{97C89DCF-B4C6-4971-B713-68F9F03A50D8}" destId="{8F8F6136-C659-4637-9086-D19EF26548E7}" srcOrd="0" destOrd="0" presId="urn:microsoft.com/office/officeart/2005/8/layout/vList5"/>
    <dgm:cxn modelId="{A35A80C0-5216-47AE-8B50-AF3CE89FD744}" type="presParOf" srcId="{97C89DCF-B4C6-4971-B713-68F9F03A50D8}" destId="{A249A9E2-5D6D-489C-B8C8-4FD8963DCF0F}" srcOrd="1" destOrd="0" presId="urn:microsoft.com/office/officeart/2005/8/layout/vList5"/>
    <dgm:cxn modelId="{2EE5E95A-0A7A-40F7-AD9E-443D0960B114}" type="presParOf" srcId="{CB047170-03CC-4F8C-877D-1FEFE6363A4D}" destId="{465575CF-09E9-4958-A587-8DFA76781826}" srcOrd="3" destOrd="0" presId="urn:microsoft.com/office/officeart/2005/8/layout/vList5"/>
    <dgm:cxn modelId="{01E1BEAC-6073-4C94-BD11-50475BE51251}" type="presParOf" srcId="{CB047170-03CC-4F8C-877D-1FEFE6363A4D}" destId="{B25415E7-797E-48DD-B7A0-ADCD798C1FFE}" srcOrd="4" destOrd="0" presId="urn:microsoft.com/office/officeart/2005/8/layout/vList5"/>
    <dgm:cxn modelId="{25EF3E07-D898-4B56-B32F-DFC63DED6670}" type="presParOf" srcId="{B25415E7-797E-48DD-B7A0-ADCD798C1FFE}" destId="{24297250-792E-40E4-8A36-1BB4B66BB049}" srcOrd="0" destOrd="0" presId="urn:microsoft.com/office/officeart/2005/8/layout/vList5"/>
    <dgm:cxn modelId="{B49FC7DA-30A6-48BD-A1B0-9F97BAB1A170}" type="presParOf" srcId="{B25415E7-797E-48DD-B7A0-ADCD798C1FFE}" destId="{93F3056D-185C-4DBC-A070-D58CB93AAAFF}" srcOrd="1" destOrd="0" presId="urn:microsoft.com/office/officeart/2005/8/layout/vList5"/>
    <dgm:cxn modelId="{041E8749-199B-4403-8C97-6EF5C2B2ACE6}" type="presParOf" srcId="{CB047170-03CC-4F8C-877D-1FEFE6363A4D}" destId="{87C9D6CF-6D2E-480F-82B9-41ABB2D6AF3B}" srcOrd="5" destOrd="0" presId="urn:microsoft.com/office/officeart/2005/8/layout/vList5"/>
    <dgm:cxn modelId="{343CB769-DD23-444C-BAD0-09FE49F80079}" type="presParOf" srcId="{CB047170-03CC-4F8C-877D-1FEFE6363A4D}" destId="{48D0C0E3-2A79-4F38-8A2A-5CB46328C72A}" srcOrd="6" destOrd="0" presId="urn:microsoft.com/office/officeart/2005/8/layout/vList5"/>
    <dgm:cxn modelId="{32A6F212-60A6-45C9-8603-F5EBA31CBA5E}" type="presParOf" srcId="{48D0C0E3-2A79-4F38-8A2A-5CB46328C72A}" destId="{3A0C5B24-D270-4D19-AFD4-2BFA88FE90C6}" srcOrd="0" destOrd="0" presId="urn:microsoft.com/office/officeart/2005/8/layout/vList5"/>
    <dgm:cxn modelId="{FBBF2EB1-C427-4534-A42B-5F77F654B9B1}" type="presParOf" srcId="{48D0C0E3-2A79-4F38-8A2A-5CB46328C72A}" destId="{2E555489-EDA6-4F34-BD2F-9E329EFC2F08}" srcOrd="1" destOrd="0" presId="urn:microsoft.com/office/officeart/2005/8/layout/vList5"/>
    <dgm:cxn modelId="{BB323A9E-EDBB-4F93-9298-FF6AB6C2DDBB}" type="presParOf" srcId="{CB047170-03CC-4F8C-877D-1FEFE6363A4D}" destId="{C57AB888-D74D-4F12-BDC5-7FB996B2CC6D}" srcOrd="7" destOrd="0" presId="urn:microsoft.com/office/officeart/2005/8/layout/vList5"/>
    <dgm:cxn modelId="{83A85DB4-A5D0-4920-B3BE-BBC98F1B7B56}" type="presParOf" srcId="{CB047170-03CC-4F8C-877D-1FEFE6363A4D}" destId="{937FB65D-0B70-4283-935F-10729DB7A918}" srcOrd="8" destOrd="0" presId="urn:microsoft.com/office/officeart/2005/8/layout/vList5"/>
    <dgm:cxn modelId="{7F8B964A-A6E9-4DFD-8F93-7266EE5BE692}" type="presParOf" srcId="{937FB65D-0B70-4283-935F-10729DB7A918}" destId="{08C38572-7F46-44F6-A1CC-0C98EB97F376}" srcOrd="0" destOrd="0" presId="urn:microsoft.com/office/officeart/2005/8/layout/vList5"/>
    <dgm:cxn modelId="{D9EDFA1D-61A9-4EF4-8E5B-C68BC4B6D994}" type="presParOf" srcId="{937FB65D-0B70-4283-935F-10729DB7A918}" destId="{31CC49FE-3EB5-4F6C-86AC-7D6753766BE2}" srcOrd="1" destOrd="0" presId="urn:microsoft.com/office/officeart/2005/8/layout/vList5"/>
    <dgm:cxn modelId="{CBAB39E1-BD57-4756-85DE-7B69E99C40F1}" type="presParOf" srcId="{CB047170-03CC-4F8C-877D-1FEFE6363A4D}" destId="{1B5678D3-F358-47E6-87A9-C90B5BD15B98}" srcOrd="9" destOrd="0" presId="urn:microsoft.com/office/officeart/2005/8/layout/vList5"/>
    <dgm:cxn modelId="{E26BFB2F-B481-4FFA-AC5F-932929288442}" type="presParOf" srcId="{CB047170-03CC-4F8C-877D-1FEFE6363A4D}" destId="{CBBB2110-5DFE-4083-A0EE-C6DBCEC5DD7B}" srcOrd="10" destOrd="0" presId="urn:microsoft.com/office/officeart/2005/8/layout/vList5"/>
    <dgm:cxn modelId="{B1DDEAA6-46CE-4382-B016-2053C6FF6711}" type="presParOf" srcId="{CBBB2110-5DFE-4083-A0EE-C6DBCEC5DD7B}" destId="{D426438B-28F1-4F2D-A50D-948324D3A876}" srcOrd="0" destOrd="0" presId="urn:microsoft.com/office/officeart/2005/8/layout/vList5"/>
    <dgm:cxn modelId="{B5A5C192-4D4D-427D-8E52-01D27BCC5E84}" type="presParOf" srcId="{CBBB2110-5DFE-4083-A0EE-C6DBCEC5DD7B}" destId="{63F59CCF-98FF-4712-AE23-C3771A1CC8AA}" srcOrd="1" destOrd="0" presId="urn:microsoft.com/office/officeart/2005/8/layout/vList5"/>
    <dgm:cxn modelId="{F4B53701-6FFF-4AF6-B7B5-A6C34FFE5BE6}" type="presParOf" srcId="{CB047170-03CC-4F8C-877D-1FEFE6363A4D}" destId="{59875A3A-AEE9-4BA1-93F5-515C471F2A33}" srcOrd="11" destOrd="0" presId="urn:microsoft.com/office/officeart/2005/8/layout/vList5"/>
    <dgm:cxn modelId="{465F25A3-1F54-4D8D-B1F9-6531FBCE9CA2}" type="presParOf" srcId="{CB047170-03CC-4F8C-877D-1FEFE6363A4D}" destId="{E34F6116-B1B6-45EF-BE0A-BB81D2290A00}" srcOrd="12" destOrd="0" presId="urn:microsoft.com/office/officeart/2005/8/layout/vList5"/>
    <dgm:cxn modelId="{DBA05823-6AA9-4437-8B5B-E9EE0AD492F1}" type="presParOf" srcId="{E34F6116-B1B6-45EF-BE0A-BB81D2290A00}" destId="{A2F33C99-1094-4E38-AC33-46A09BD659BA}" srcOrd="0" destOrd="0" presId="urn:microsoft.com/office/officeart/2005/8/layout/vList5"/>
    <dgm:cxn modelId="{914775E7-1392-4CE0-A9BC-348D49BFC91D}" type="presParOf" srcId="{E34F6116-B1B6-45EF-BE0A-BB81D2290A00}" destId="{01326263-A2A7-4426-8FCA-D991D774FE79}" srcOrd="1" destOrd="0" presId="urn:microsoft.com/office/officeart/2005/8/layout/vList5"/>
    <dgm:cxn modelId="{EAFF6F0D-086B-41B7-BA5D-E129C6AEE2DA}" type="presParOf" srcId="{CB047170-03CC-4F8C-877D-1FEFE6363A4D}" destId="{1F24C86D-8BC7-4A7F-B10D-FE4CB38FDE34}" srcOrd="13" destOrd="0" presId="urn:microsoft.com/office/officeart/2005/8/layout/vList5"/>
    <dgm:cxn modelId="{2B83AD27-A249-41F4-82BD-F39792BF7086}" type="presParOf" srcId="{CB047170-03CC-4F8C-877D-1FEFE6363A4D}" destId="{CB2BE502-1A3B-405E-8E0F-EFF9FBC43DA9}" srcOrd="14" destOrd="0" presId="urn:microsoft.com/office/officeart/2005/8/layout/vList5"/>
    <dgm:cxn modelId="{D10C3B32-1F1B-4A6C-93FC-82C6EF757A03}" type="presParOf" srcId="{CB2BE502-1A3B-405E-8E0F-EFF9FBC43DA9}" destId="{D37CD04A-2A3D-472D-99B6-D1FAF90477B4}" srcOrd="0" destOrd="0" presId="urn:microsoft.com/office/officeart/2005/8/layout/vList5"/>
    <dgm:cxn modelId="{CA89A165-5850-441E-9A61-5431ED0EBB23}" type="presParOf" srcId="{CB2BE502-1A3B-405E-8E0F-EFF9FBC43DA9}" destId="{9BEB0A0D-4892-4F0E-8F50-0E71D70F5A79}" srcOrd="1" destOrd="0" presId="urn:microsoft.com/office/officeart/2005/8/layout/vList5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153EA3-D7EA-4D55-822C-827029C85DBE}">
      <dsp:nvSpPr>
        <dsp:cNvPr id="0" name=""/>
        <dsp:cNvSpPr/>
      </dsp:nvSpPr>
      <dsp:spPr>
        <a:xfrm rot="5400000">
          <a:off x="-135014" y="139966"/>
          <a:ext cx="900099" cy="630069"/>
        </a:xfrm>
        <a:prstGeom prst="chevron">
          <a:avLst/>
        </a:prstGeom>
        <a:solidFill>
          <a:srgbClr val="12466B">
            <a:alpha val="40000"/>
          </a:srgb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985838">
            <a:lnSpc>
              <a:spcPct val="90000"/>
            </a:lnSpc>
            <a:spcBef>
              <a:spcPct val="0"/>
            </a:spcBef>
            <a:spcAft>
              <a:spcPct val="35000"/>
            </a:spcAft>
            <a:tabLst/>
          </a:pPr>
          <a:r>
            <a:rPr lang="fr-FR" sz="1200" b="1" kern="1200" dirty="0">
              <a:solidFill>
                <a:srgbClr val="12466B"/>
              </a:solidFill>
              <a:latin typeface="Trebuchet MS" panose="020B0603020202020204" pitchFamily="34" charset="0"/>
            </a:rPr>
            <a:t>JANVIER</a:t>
          </a:r>
          <a:endParaRPr lang="fr-FR" sz="1600" b="1" kern="1200" dirty="0">
            <a:solidFill>
              <a:srgbClr val="12466B"/>
            </a:solidFill>
            <a:latin typeface="Trebuchet MS" panose="020B0603020202020204" pitchFamily="34" charset="0"/>
          </a:endParaRPr>
        </a:p>
      </dsp:txBody>
      <dsp:txXfrm rot="-5400000">
        <a:off x="2" y="319986"/>
        <a:ext cx="630069" cy="270030"/>
      </dsp:txXfrm>
    </dsp:sp>
    <dsp:sp modelId="{B40FA338-69A4-44A6-A841-458EC5369DE6}">
      <dsp:nvSpPr>
        <dsp:cNvPr id="0" name=""/>
        <dsp:cNvSpPr/>
      </dsp:nvSpPr>
      <dsp:spPr>
        <a:xfrm rot="5400000">
          <a:off x="5531973" y="-4896952"/>
          <a:ext cx="585064" cy="1038887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>
              <a:latin typeface="Trebuchet MS" panose="020B0603020202020204" pitchFamily="34" charset="0"/>
            </a:rPr>
            <a:t>Transmission du projet LDIS au Grand Conseil</a:t>
          </a:r>
        </a:p>
      </dsp:txBody>
      <dsp:txXfrm rot="-5400000">
        <a:off x="630069" y="33512"/>
        <a:ext cx="10360312" cy="527944"/>
      </dsp:txXfrm>
    </dsp:sp>
    <dsp:sp modelId="{58561877-9422-483F-8D6C-FBF57856D2D6}">
      <dsp:nvSpPr>
        <dsp:cNvPr id="0" name=""/>
        <dsp:cNvSpPr/>
      </dsp:nvSpPr>
      <dsp:spPr>
        <a:xfrm rot="5400000">
          <a:off x="-135014" y="942075"/>
          <a:ext cx="900099" cy="630069"/>
        </a:xfrm>
        <a:prstGeom prst="chevron">
          <a:avLst/>
        </a:prstGeom>
        <a:solidFill>
          <a:srgbClr val="12466B">
            <a:alpha val="54902"/>
          </a:srgbClr>
        </a:solidFill>
        <a:ln w="12700" cap="flat" cmpd="sng" algn="ctr">
          <a:solidFill>
            <a:schemeClr val="accent2">
              <a:hueOff val="11"/>
              <a:satOff val="232"/>
              <a:lumOff val="-360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>
              <a:solidFill>
                <a:srgbClr val="12466B"/>
              </a:solidFill>
              <a:latin typeface="Trebuchet MS" panose="020B0603020202020204" pitchFamily="34" charset="0"/>
            </a:rPr>
            <a:t>Février</a:t>
          </a:r>
        </a:p>
      </dsp:txBody>
      <dsp:txXfrm rot="-5400000">
        <a:off x="2" y="1122095"/>
        <a:ext cx="630069" cy="270030"/>
      </dsp:txXfrm>
    </dsp:sp>
    <dsp:sp modelId="{299B4FD6-F6BE-423F-91F3-E3F42ECF0B17}">
      <dsp:nvSpPr>
        <dsp:cNvPr id="0" name=""/>
        <dsp:cNvSpPr/>
      </dsp:nvSpPr>
      <dsp:spPr>
        <a:xfrm rot="5400000">
          <a:off x="5531973" y="-4094843"/>
          <a:ext cx="585064" cy="1038887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11"/>
              <a:satOff val="232"/>
              <a:lumOff val="-360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/>
            <a:t>Choix du RSS par les communes du district pour remplir la mission Défense Incendie dans le district (14</a:t>
          </a:r>
          <a:r>
            <a:rPr lang="fr-FR" sz="2000" kern="1200" baseline="30000" dirty="0"/>
            <a:t>ème</a:t>
          </a:r>
          <a:r>
            <a:rPr lang="fr-FR" sz="2000" kern="1200" dirty="0"/>
            <a:t> séance </a:t>
          </a:r>
          <a:r>
            <a:rPr lang="fr-FR" sz="2000" kern="1200" dirty="0" smtClean="0"/>
            <a:t>de la </a:t>
          </a:r>
          <a:r>
            <a:rPr lang="fr-FR" sz="2000" kern="1200" dirty="0"/>
            <a:t>CRID)</a:t>
          </a:r>
        </a:p>
      </dsp:txBody>
      <dsp:txXfrm rot="-5400000">
        <a:off x="630069" y="835621"/>
        <a:ext cx="10360312" cy="527944"/>
      </dsp:txXfrm>
    </dsp:sp>
    <dsp:sp modelId="{8DBB4242-42A0-44F9-B33A-F05C72CB589A}">
      <dsp:nvSpPr>
        <dsp:cNvPr id="0" name=""/>
        <dsp:cNvSpPr/>
      </dsp:nvSpPr>
      <dsp:spPr>
        <a:xfrm rot="5400000">
          <a:off x="-135014" y="1744184"/>
          <a:ext cx="900099" cy="630069"/>
        </a:xfrm>
        <a:prstGeom prst="chevron">
          <a:avLst/>
        </a:prstGeom>
        <a:solidFill>
          <a:srgbClr val="12466B">
            <a:alpha val="54902"/>
          </a:srgbClr>
        </a:solidFill>
        <a:ln w="12700" cap="flat" cmpd="sng" algn="ctr">
          <a:solidFill>
            <a:schemeClr val="accent2">
              <a:hueOff val="22"/>
              <a:satOff val="465"/>
              <a:lumOff val="-721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>
              <a:solidFill>
                <a:srgbClr val="12466B"/>
              </a:solidFill>
              <a:latin typeface="Trebuchet MS" panose="020B0603020202020204" pitchFamily="34" charset="0"/>
            </a:rPr>
            <a:t>MARS</a:t>
          </a:r>
        </a:p>
      </dsp:txBody>
      <dsp:txXfrm rot="-5400000">
        <a:off x="2" y="1924204"/>
        <a:ext cx="630069" cy="270030"/>
      </dsp:txXfrm>
    </dsp:sp>
    <dsp:sp modelId="{72E456FC-345F-432A-8A78-4678BBA60BE5}">
      <dsp:nvSpPr>
        <dsp:cNvPr id="0" name=""/>
        <dsp:cNvSpPr/>
      </dsp:nvSpPr>
      <dsp:spPr>
        <a:xfrm rot="5400000">
          <a:off x="5531973" y="-3292734"/>
          <a:ext cx="585064" cy="1038887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22"/>
              <a:satOff val="465"/>
              <a:lumOff val="-721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>
              <a:latin typeface="Trebuchet MS" panose="020B0603020202020204" pitchFamily="34" charset="0"/>
            </a:rPr>
            <a:t>Adoption de la LDIS par le Grand Conseil</a:t>
          </a:r>
          <a:br>
            <a:rPr lang="fr-FR" sz="2000" kern="1200" dirty="0">
              <a:latin typeface="Trebuchet MS" panose="020B0603020202020204" pitchFamily="34" charset="0"/>
            </a:rPr>
          </a:br>
          <a:r>
            <a:rPr lang="fr-FR" sz="2000" kern="1200" dirty="0">
              <a:latin typeface="Trebuchet MS" panose="020B0603020202020204" pitchFamily="34" charset="0"/>
            </a:rPr>
            <a:t>(95 voix pour et 1 contre)</a:t>
          </a:r>
        </a:p>
      </dsp:txBody>
      <dsp:txXfrm rot="-5400000">
        <a:off x="630069" y="1637730"/>
        <a:ext cx="10360312" cy="527944"/>
      </dsp:txXfrm>
    </dsp:sp>
    <dsp:sp modelId="{198A49EA-6892-4999-939B-87B4BAC29DDC}">
      <dsp:nvSpPr>
        <dsp:cNvPr id="0" name=""/>
        <dsp:cNvSpPr/>
      </dsp:nvSpPr>
      <dsp:spPr>
        <a:xfrm rot="5400000">
          <a:off x="-135014" y="2546293"/>
          <a:ext cx="900099" cy="630069"/>
        </a:xfrm>
        <a:prstGeom prst="chevron">
          <a:avLst/>
        </a:prstGeom>
        <a:solidFill>
          <a:srgbClr val="12466B">
            <a:alpha val="69804"/>
          </a:srgbClr>
        </a:solidFill>
        <a:ln w="12700" cap="flat" cmpd="sng" algn="ctr">
          <a:solidFill>
            <a:schemeClr val="accent2">
              <a:hueOff val="33"/>
              <a:satOff val="697"/>
              <a:lumOff val="-1082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>
              <a:solidFill>
                <a:schemeClr val="bg1"/>
              </a:solidFill>
              <a:latin typeface="Trebuchet MS" panose="020B0603020202020204" pitchFamily="34" charset="0"/>
            </a:rPr>
            <a:t>JUIN</a:t>
          </a:r>
        </a:p>
      </dsp:txBody>
      <dsp:txXfrm rot="-5400000">
        <a:off x="2" y="2726313"/>
        <a:ext cx="630069" cy="270030"/>
      </dsp:txXfrm>
    </dsp:sp>
    <dsp:sp modelId="{FDD63BA9-2A84-4F27-9469-5C6D05EC6560}">
      <dsp:nvSpPr>
        <dsp:cNvPr id="0" name=""/>
        <dsp:cNvSpPr/>
      </dsp:nvSpPr>
      <dsp:spPr>
        <a:xfrm rot="5400000">
          <a:off x="5531973" y="-2490625"/>
          <a:ext cx="585064" cy="1038887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33"/>
              <a:satOff val="697"/>
              <a:lumOff val="-1082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>
              <a:latin typeface="Trebuchet MS" panose="020B0603020202020204" pitchFamily="34" charset="0"/>
            </a:rPr>
            <a:t>Constitution du COPIL/COPRO RS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>
              <a:latin typeface="Trebuchet MS" panose="020B0603020202020204" pitchFamily="34" charset="0"/>
            </a:rPr>
            <a:t>1</a:t>
          </a:r>
          <a:r>
            <a:rPr lang="fr-FR" sz="2000" kern="1200" baseline="30000" dirty="0">
              <a:latin typeface="Trebuchet MS" panose="020B0603020202020204" pitchFamily="34" charset="0"/>
            </a:rPr>
            <a:t>ère</a:t>
          </a:r>
          <a:r>
            <a:rPr lang="fr-FR" sz="2000" kern="1200" dirty="0">
              <a:latin typeface="Trebuchet MS" panose="020B0603020202020204" pitchFamily="34" charset="0"/>
            </a:rPr>
            <a:t> séance d'information aux </a:t>
          </a:r>
          <a:r>
            <a:rPr lang="fr-FR" sz="2000" kern="1200" dirty="0" err="1">
              <a:latin typeface="Trebuchet MS" panose="020B0603020202020204" pitchFamily="34" charset="0"/>
            </a:rPr>
            <a:t>cdts</a:t>
          </a:r>
          <a:r>
            <a:rPr lang="fr-FR" sz="2000" kern="1200" dirty="0">
              <a:latin typeface="Trebuchet MS" panose="020B0603020202020204" pitchFamily="34" charset="0"/>
            </a:rPr>
            <a:t> CSP/</a:t>
          </a:r>
          <a:r>
            <a:rPr lang="fr-FR" sz="2000" kern="1200" dirty="0" err="1">
              <a:latin typeface="Trebuchet MS" panose="020B0603020202020204" pitchFamily="34" charset="0"/>
            </a:rPr>
            <a:t>CSPi</a:t>
          </a:r>
          <a:r>
            <a:rPr lang="fr-FR" sz="2000" kern="1200" dirty="0">
              <a:latin typeface="Trebuchet MS" panose="020B0603020202020204" pitchFamily="34" charset="0"/>
            </a:rPr>
            <a:t> du district</a:t>
          </a:r>
        </a:p>
      </dsp:txBody>
      <dsp:txXfrm rot="-5400000">
        <a:off x="630069" y="2439839"/>
        <a:ext cx="10360312" cy="527944"/>
      </dsp:txXfrm>
    </dsp:sp>
    <dsp:sp modelId="{02891F74-EF2D-41FE-88CB-63F17B13F9F9}">
      <dsp:nvSpPr>
        <dsp:cNvPr id="0" name=""/>
        <dsp:cNvSpPr/>
      </dsp:nvSpPr>
      <dsp:spPr>
        <a:xfrm rot="5400000">
          <a:off x="-135014" y="3348402"/>
          <a:ext cx="900099" cy="630069"/>
        </a:xfrm>
        <a:prstGeom prst="chevron">
          <a:avLst/>
        </a:prstGeom>
        <a:solidFill>
          <a:srgbClr val="12466B">
            <a:alpha val="85098"/>
          </a:srgbClr>
        </a:solidFill>
        <a:ln w="12700" cap="flat" cmpd="sng" algn="ctr">
          <a:solidFill>
            <a:schemeClr val="accent2">
              <a:hueOff val="44"/>
              <a:satOff val="930"/>
              <a:lumOff val="-1443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00" b="1" kern="1200" dirty="0">
              <a:solidFill>
                <a:schemeClr val="bg1"/>
              </a:solidFill>
              <a:latin typeface="Trebuchet MS" panose="020B0603020202020204" pitchFamily="34" charset="0"/>
            </a:rPr>
            <a:t>SEPTEMBRE</a:t>
          </a:r>
        </a:p>
      </dsp:txBody>
      <dsp:txXfrm rot="-5400000">
        <a:off x="2" y="3528422"/>
        <a:ext cx="630069" cy="270030"/>
      </dsp:txXfrm>
    </dsp:sp>
    <dsp:sp modelId="{74FDB634-F539-4DDC-A39F-6A741F6943A6}">
      <dsp:nvSpPr>
        <dsp:cNvPr id="0" name=""/>
        <dsp:cNvSpPr/>
      </dsp:nvSpPr>
      <dsp:spPr>
        <a:xfrm rot="5400000">
          <a:off x="5531973" y="-1688516"/>
          <a:ext cx="585064" cy="1038887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44"/>
              <a:satOff val="930"/>
              <a:lumOff val="-1443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>
              <a:latin typeface="Trebuchet MS" panose="020B0603020202020204" pitchFamily="34" charset="0"/>
            </a:rPr>
            <a:t>Validation de l'engagement du Directeur Secour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>
              <a:latin typeface="Trebuchet MS" panose="020B0603020202020204" pitchFamily="34" charset="0"/>
            </a:rPr>
            <a:t>1</a:t>
          </a:r>
          <a:r>
            <a:rPr lang="fr-FR" sz="2000" kern="1200" baseline="30000" dirty="0">
              <a:latin typeface="Trebuchet MS" panose="020B0603020202020204" pitchFamily="34" charset="0"/>
            </a:rPr>
            <a:t>ères</a:t>
          </a:r>
          <a:r>
            <a:rPr lang="fr-FR" sz="2000" kern="1200" dirty="0">
              <a:latin typeface="Trebuchet MS" panose="020B0603020202020204" pitchFamily="34" charset="0"/>
            </a:rPr>
            <a:t> séances de travail du COPIL/COPRO</a:t>
          </a:r>
        </a:p>
      </dsp:txBody>
      <dsp:txXfrm rot="-5400000">
        <a:off x="630069" y="3241948"/>
        <a:ext cx="10360312" cy="527944"/>
      </dsp:txXfrm>
    </dsp:sp>
    <dsp:sp modelId="{9F430A30-C5FA-4611-B349-D347691F0446}">
      <dsp:nvSpPr>
        <dsp:cNvPr id="0" name=""/>
        <dsp:cNvSpPr/>
      </dsp:nvSpPr>
      <dsp:spPr>
        <a:xfrm rot="5400000">
          <a:off x="-135014" y="4150511"/>
          <a:ext cx="900099" cy="630069"/>
        </a:xfrm>
        <a:prstGeom prst="chevron">
          <a:avLst/>
        </a:prstGeom>
        <a:solidFill>
          <a:srgbClr val="12466B"/>
        </a:solidFill>
        <a:ln w="12700" cap="flat" cmpd="sng" algn="ctr">
          <a:solidFill>
            <a:schemeClr val="accent2">
              <a:hueOff val="55"/>
              <a:satOff val="1162"/>
              <a:lumOff val="-1803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00" b="1" kern="1200" dirty="0">
              <a:solidFill>
                <a:schemeClr val="bg1"/>
              </a:solidFill>
              <a:latin typeface="Trebuchet MS" panose="020B0603020202020204" pitchFamily="34" charset="0"/>
            </a:rPr>
            <a:t>NOVEMBRE</a:t>
          </a:r>
        </a:p>
      </dsp:txBody>
      <dsp:txXfrm rot="-5400000">
        <a:off x="2" y="4330531"/>
        <a:ext cx="630069" cy="270030"/>
      </dsp:txXfrm>
    </dsp:sp>
    <dsp:sp modelId="{3C4BDBF1-D4D9-4782-85DF-BBE366993CD1}">
      <dsp:nvSpPr>
        <dsp:cNvPr id="0" name=""/>
        <dsp:cNvSpPr/>
      </dsp:nvSpPr>
      <dsp:spPr>
        <a:xfrm rot="5400000">
          <a:off x="5531973" y="-886407"/>
          <a:ext cx="585064" cy="1038887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55"/>
              <a:satOff val="1162"/>
              <a:lumOff val="-1803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>
              <a:latin typeface="Trebuchet MS" panose="020B0603020202020204" pitchFamily="34" charset="0"/>
            </a:rPr>
            <a:t>Séance d'information aux communes du distric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>
              <a:latin typeface="Trebuchet MS" panose="020B0603020202020204" pitchFamily="34" charset="0"/>
            </a:rPr>
            <a:t>1</a:t>
          </a:r>
          <a:r>
            <a:rPr lang="fr-FR" sz="2000" kern="1200" baseline="30000" dirty="0">
              <a:latin typeface="Trebuchet MS" panose="020B0603020202020204" pitchFamily="34" charset="0"/>
            </a:rPr>
            <a:t>ère</a:t>
          </a:r>
          <a:r>
            <a:rPr lang="fr-FR" sz="2000" kern="1200" dirty="0">
              <a:latin typeface="Trebuchet MS" panose="020B0603020202020204" pitchFamily="34" charset="0"/>
            </a:rPr>
            <a:t> séance d'information aux </a:t>
          </a:r>
          <a:r>
            <a:rPr lang="fr-FR" sz="2000" kern="1200" dirty="0" err="1">
              <a:latin typeface="Trebuchet MS" panose="020B0603020202020204" pitchFamily="34" charset="0"/>
            </a:rPr>
            <a:t>cdts</a:t>
          </a:r>
          <a:r>
            <a:rPr lang="fr-FR" sz="2000" kern="1200" dirty="0">
              <a:latin typeface="Trebuchet MS" panose="020B0603020202020204" pitchFamily="34" charset="0"/>
            </a:rPr>
            <a:t> CSP/</a:t>
          </a:r>
          <a:r>
            <a:rPr lang="fr-FR" sz="2000" kern="1200" dirty="0" err="1">
              <a:latin typeface="Trebuchet MS" panose="020B0603020202020204" pitchFamily="34" charset="0"/>
            </a:rPr>
            <a:t>CSPi</a:t>
          </a:r>
          <a:r>
            <a:rPr lang="fr-FR" sz="2000" kern="1200" dirty="0">
              <a:latin typeface="Trebuchet MS" panose="020B0603020202020204" pitchFamily="34" charset="0"/>
            </a:rPr>
            <a:t> du district</a:t>
          </a:r>
        </a:p>
      </dsp:txBody>
      <dsp:txXfrm rot="-5400000">
        <a:off x="630069" y="4044057"/>
        <a:ext cx="10360312" cy="52794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153EA3-D7EA-4D55-822C-827029C85DBE}">
      <dsp:nvSpPr>
        <dsp:cNvPr id="0" name=""/>
        <dsp:cNvSpPr/>
      </dsp:nvSpPr>
      <dsp:spPr>
        <a:xfrm rot="5400000">
          <a:off x="-200738" y="203038"/>
          <a:ext cx="1338254" cy="936777"/>
        </a:xfrm>
        <a:prstGeom prst="chevron">
          <a:avLst/>
        </a:prstGeom>
        <a:solidFill>
          <a:srgbClr val="12466B">
            <a:alpha val="40000"/>
          </a:srgb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985838">
            <a:lnSpc>
              <a:spcPct val="90000"/>
            </a:lnSpc>
            <a:spcBef>
              <a:spcPct val="0"/>
            </a:spcBef>
            <a:spcAft>
              <a:spcPct val="35000"/>
            </a:spcAft>
            <a:tabLst/>
          </a:pPr>
          <a:r>
            <a:rPr lang="fr-FR" sz="1800" b="1" kern="1200" dirty="0" smtClean="0">
              <a:solidFill>
                <a:srgbClr val="12466B"/>
              </a:solidFill>
              <a:latin typeface="Trebuchet MS" panose="020B0603020202020204" pitchFamily="34" charset="0"/>
            </a:rPr>
            <a:t>MARS</a:t>
          </a:r>
          <a:endParaRPr lang="fr-FR" sz="1800" b="1" kern="1200" dirty="0">
            <a:solidFill>
              <a:srgbClr val="12466B"/>
            </a:solidFill>
            <a:latin typeface="Trebuchet MS" panose="020B0603020202020204" pitchFamily="34" charset="0"/>
          </a:endParaRPr>
        </a:p>
      </dsp:txBody>
      <dsp:txXfrm rot="-5400000">
        <a:off x="1" y="470689"/>
        <a:ext cx="936777" cy="401477"/>
      </dsp:txXfrm>
    </dsp:sp>
    <dsp:sp modelId="{B40FA338-69A4-44A6-A841-458EC5369DE6}">
      <dsp:nvSpPr>
        <dsp:cNvPr id="0" name=""/>
        <dsp:cNvSpPr/>
      </dsp:nvSpPr>
      <dsp:spPr>
        <a:xfrm rot="5400000">
          <a:off x="5542927" y="-4603848"/>
          <a:ext cx="869865" cy="1008216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>
              <a:latin typeface="Trebuchet MS" panose="020B0603020202020204" pitchFamily="34" charset="0"/>
            </a:rPr>
            <a:t>Sondage auprès des 806 sapeurs-pompiers actifs (évaluation des effectifs futurs)</a:t>
          </a:r>
          <a:endParaRPr lang="fr-FR" sz="2000" kern="1200" dirty="0">
            <a:latin typeface="Trebuchet MS" panose="020B0603020202020204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>
              <a:latin typeface="Trebuchet MS" panose="020B0603020202020204" pitchFamily="34" charset="0"/>
            </a:rPr>
            <a:t>Elaboration V1 budget POMPIERS 2023 (Séance de travail CODIR RSS – 31.03.2022)</a:t>
          </a:r>
          <a:endParaRPr lang="fr-FR" sz="2000" kern="1200" dirty="0">
            <a:latin typeface="Trebuchet MS" panose="020B0603020202020204" pitchFamily="34" charset="0"/>
          </a:endParaRPr>
        </a:p>
      </dsp:txBody>
      <dsp:txXfrm rot="-5400000">
        <a:off x="936778" y="44764"/>
        <a:ext cx="10039701" cy="784939"/>
      </dsp:txXfrm>
    </dsp:sp>
    <dsp:sp modelId="{8DBB4242-42A0-44F9-B33A-F05C72CB589A}">
      <dsp:nvSpPr>
        <dsp:cNvPr id="0" name=""/>
        <dsp:cNvSpPr/>
      </dsp:nvSpPr>
      <dsp:spPr>
        <a:xfrm rot="5400000">
          <a:off x="-200738" y="1395602"/>
          <a:ext cx="1338254" cy="936777"/>
        </a:xfrm>
        <a:prstGeom prst="chevron">
          <a:avLst/>
        </a:prstGeom>
        <a:solidFill>
          <a:srgbClr val="12466B">
            <a:alpha val="54902"/>
          </a:srgbClr>
        </a:solidFill>
        <a:ln w="12700" cap="flat" cmpd="sng" algn="ctr">
          <a:solidFill>
            <a:schemeClr val="accent2">
              <a:hueOff val="18"/>
              <a:satOff val="387"/>
              <a:lumOff val="-601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>
              <a:solidFill>
                <a:srgbClr val="12466B"/>
              </a:solidFill>
              <a:latin typeface="Trebuchet MS" panose="020B0603020202020204" pitchFamily="34" charset="0"/>
            </a:rPr>
            <a:t>AVRIL</a:t>
          </a:r>
          <a:endParaRPr lang="fr-FR" sz="1800" b="1" kern="1200" dirty="0">
            <a:solidFill>
              <a:srgbClr val="12466B"/>
            </a:solidFill>
            <a:latin typeface="Trebuchet MS" panose="020B0603020202020204" pitchFamily="34" charset="0"/>
          </a:endParaRPr>
        </a:p>
      </dsp:txBody>
      <dsp:txXfrm rot="-5400000">
        <a:off x="1" y="1663253"/>
        <a:ext cx="936777" cy="401477"/>
      </dsp:txXfrm>
    </dsp:sp>
    <dsp:sp modelId="{72E456FC-345F-432A-8A78-4678BBA60BE5}">
      <dsp:nvSpPr>
        <dsp:cNvPr id="0" name=""/>
        <dsp:cNvSpPr/>
      </dsp:nvSpPr>
      <dsp:spPr>
        <a:xfrm rot="5400000">
          <a:off x="5542927" y="-3411284"/>
          <a:ext cx="869865" cy="1008216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18"/>
              <a:satOff val="387"/>
              <a:lumOff val="-601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>
              <a:latin typeface="Trebuchet MS" panose="020B0603020202020204" pitchFamily="34" charset="0"/>
            </a:rPr>
            <a:t>Finalisation de la réflexion du financement</a:t>
          </a:r>
          <a:br>
            <a:rPr lang="fr-FR" sz="2000" kern="1200" dirty="0" smtClean="0">
              <a:latin typeface="Trebuchet MS" panose="020B0603020202020204" pitchFamily="34" charset="0"/>
            </a:rPr>
          </a:br>
          <a:r>
            <a:rPr lang="fr-FR" sz="2000" kern="1200" dirty="0" smtClean="0">
              <a:latin typeface="Trebuchet MS" panose="020B0603020202020204" pitchFamily="34" charset="0"/>
            </a:rPr>
            <a:t>Budget V2 faisant suite aux décisions stratégiques du CODIR RSS</a:t>
          </a:r>
          <a:endParaRPr lang="fr-FR" sz="2000" kern="1200" dirty="0">
            <a:latin typeface="Trebuchet MS" panose="020B0603020202020204" pitchFamily="34" charset="0"/>
          </a:endParaRPr>
        </a:p>
      </dsp:txBody>
      <dsp:txXfrm rot="-5400000">
        <a:off x="936778" y="1237328"/>
        <a:ext cx="10039701" cy="784939"/>
      </dsp:txXfrm>
    </dsp:sp>
    <dsp:sp modelId="{198A49EA-6892-4999-939B-87B4BAC29DDC}">
      <dsp:nvSpPr>
        <dsp:cNvPr id="0" name=""/>
        <dsp:cNvSpPr/>
      </dsp:nvSpPr>
      <dsp:spPr>
        <a:xfrm rot="5400000">
          <a:off x="-200738" y="2588166"/>
          <a:ext cx="1338254" cy="936777"/>
        </a:xfrm>
        <a:prstGeom prst="chevron">
          <a:avLst/>
        </a:prstGeom>
        <a:solidFill>
          <a:srgbClr val="12466B">
            <a:alpha val="69804"/>
          </a:srgbClr>
        </a:solidFill>
        <a:ln w="12700" cap="flat" cmpd="sng" algn="ctr">
          <a:solidFill>
            <a:schemeClr val="accent2">
              <a:hueOff val="37"/>
              <a:satOff val="775"/>
              <a:lumOff val="-120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>
              <a:solidFill>
                <a:schemeClr val="bg1"/>
              </a:solidFill>
              <a:latin typeface="Trebuchet MS" panose="020B0603020202020204" pitchFamily="34" charset="0"/>
            </a:rPr>
            <a:t>MAI</a:t>
          </a:r>
          <a:endParaRPr lang="fr-FR" sz="1800" b="1" kern="1200" dirty="0">
            <a:solidFill>
              <a:schemeClr val="bg1"/>
            </a:solidFill>
            <a:latin typeface="Trebuchet MS" panose="020B0603020202020204" pitchFamily="34" charset="0"/>
          </a:endParaRPr>
        </a:p>
      </dsp:txBody>
      <dsp:txXfrm rot="-5400000">
        <a:off x="1" y="2855817"/>
        <a:ext cx="936777" cy="401477"/>
      </dsp:txXfrm>
    </dsp:sp>
    <dsp:sp modelId="{FDD63BA9-2A84-4F27-9469-5C6D05EC6560}">
      <dsp:nvSpPr>
        <dsp:cNvPr id="0" name=""/>
        <dsp:cNvSpPr/>
      </dsp:nvSpPr>
      <dsp:spPr>
        <a:xfrm rot="5400000">
          <a:off x="5542927" y="-2218721"/>
          <a:ext cx="869865" cy="1008216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37"/>
              <a:satOff val="775"/>
              <a:lumOff val="-120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>
              <a:latin typeface="Trebuchet MS" panose="020B0603020202020204" pitchFamily="34" charset="0"/>
            </a:rPr>
            <a:t>Finalisation des nouveaux statuts du RSS</a:t>
          </a:r>
          <a:br>
            <a:rPr lang="fr-FR" sz="2000" kern="1200" dirty="0" smtClean="0">
              <a:latin typeface="Trebuchet MS" panose="020B0603020202020204" pitchFamily="34" charset="0"/>
            </a:rPr>
          </a:br>
          <a:r>
            <a:rPr lang="fr-FR" sz="2000" kern="1200" dirty="0" smtClean="0">
              <a:latin typeface="Trebuchet MS" panose="020B0603020202020204" pitchFamily="34" charset="0"/>
            </a:rPr>
            <a:t>Nouvelle tâche confiée au RSS</a:t>
          </a:r>
          <a:endParaRPr lang="fr-FR" sz="2000" kern="1200" dirty="0">
            <a:latin typeface="Trebuchet MS" panose="020B0603020202020204" pitchFamily="34" charset="0"/>
          </a:endParaRPr>
        </a:p>
      </dsp:txBody>
      <dsp:txXfrm rot="-5400000">
        <a:off x="936778" y="2429891"/>
        <a:ext cx="10039701" cy="784939"/>
      </dsp:txXfrm>
    </dsp:sp>
    <dsp:sp modelId="{02891F74-EF2D-41FE-88CB-63F17B13F9F9}">
      <dsp:nvSpPr>
        <dsp:cNvPr id="0" name=""/>
        <dsp:cNvSpPr/>
      </dsp:nvSpPr>
      <dsp:spPr>
        <a:xfrm rot="5400000">
          <a:off x="-200738" y="3780730"/>
          <a:ext cx="1338254" cy="936777"/>
        </a:xfrm>
        <a:prstGeom prst="chevron">
          <a:avLst/>
        </a:prstGeom>
        <a:solidFill>
          <a:srgbClr val="12466B">
            <a:alpha val="85098"/>
          </a:srgbClr>
        </a:solidFill>
        <a:ln w="12700" cap="flat" cmpd="sng" algn="ctr">
          <a:solidFill>
            <a:schemeClr val="accent2">
              <a:hueOff val="55"/>
              <a:satOff val="1162"/>
              <a:lumOff val="-1803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>
              <a:solidFill>
                <a:schemeClr val="bg1"/>
              </a:solidFill>
              <a:latin typeface="Trebuchet MS" panose="020B0603020202020204" pitchFamily="34" charset="0"/>
            </a:rPr>
            <a:t>JUIN</a:t>
          </a:r>
          <a:endParaRPr lang="fr-FR" sz="1800" b="1" kern="1200" dirty="0">
            <a:solidFill>
              <a:schemeClr val="bg1"/>
            </a:solidFill>
            <a:latin typeface="Trebuchet MS" panose="020B0603020202020204" pitchFamily="34" charset="0"/>
          </a:endParaRPr>
        </a:p>
      </dsp:txBody>
      <dsp:txXfrm rot="-5400000">
        <a:off x="1" y="4048381"/>
        <a:ext cx="936777" cy="401477"/>
      </dsp:txXfrm>
    </dsp:sp>
    <dsp:sp modelId="{74FDB634-F539-4DDC-A39F-6A741F6943A6}">
      <dsp:nvSpPr>
        <dsp:cNvPr id="0" name=""/>
        <dsp:cNvSpPr/>
      </dsp:nvSpPr>
      <dsp:spPr>
        <a:xfrm rot="5400000">
          <a:off x="5542927" y="-1026157"/>
          <a:ext cx="869865" cy="1008216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55"/>
              <a:satOff val="1162"/>
              <a:lumOff val="-1803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>
              <a:latin typeface="Trebuchet MS" panose="020B0603020202020204" pitchFamily="34" charset="0"/>
            </a:rPr>
            <a:t>Assemblée des déléguées RSS</a:t>
          </a:r>
          <a:br>
            <a:rPr lang="fr-FR" sz="2000" kern="1200" dirty="0" smtClean="0">
              <a:latin typeface="Trebuchet MS" panose="020B0603020202020204" pitchFamily="34" charset="0"/>
            </a:rPr>
          </a:br>
          <a:r>
            <a:rPr lang="fr-FR" sz="2000" kern="1200" dirty="0" smtClean="0">
              <a:latin typeface="Trebuchet MS" panose="020B0603020202020204" pitchFamily="34" charset="0"/>
            </a:rPr>
            <a:t>Vote sur les nouveaux Statuts le 1</a:t>
          </a:r>
          <a:r>
            <a:rPr lang="fr-FR" sz="2000" kern="1200" baseline="30000" dirty="0" smtClean="0">
              <a:latin typeface="Trebuchet MS" panose="020B0603020202020204" pitchFamily="34" charset="0"/>
            </a:rPr>
            <a:t>er</a:t>
          </a:r>
          <a:r>
            <a:rPr lang="fr-FR" sz="2000" kern="1200" dirty="0" smtClean="0">
              <a:latin typeface="Trebuchet MS" panose="020B0603020202020204" pitchFamily="34" charset="0"/>
            </a:rPr>
            <a:t> juin 2022</a:t>
          </a:r>
          <a:endParaRPr lang="fr-FR" sz="2000" kern="1200" dirty="0">
            <a:latin typeface="Trebuchet MS" panose="020B0603020202020204" pitchFamily="34" charset="0"/>
          </a:endParaRPr>
        </a:p>
      </dsp:txBody>
      <dsp:txXfrm rot="-5400000">
        <a:off x="936778" y="3622455"/>
        <a:ext cx="10039701" cy="78493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153EA3-D7EA-4D55-822C-827029C85DBE}">
      <dsp:nvSpPr>
        <dsp:cNvPr id="0" name=""/>
        <dsp:cNvSpPr/>
      </dsp:nvSpPr>
      <dsp:spPr>
        <a:xfrm rot="5400000">
          <a:off x="-200542" y="205242"/>
          <a:ext cx="1336947" cy="935863"/>
        </a:xfrm>
        <a:prstGeom prst="chevron">
          <a:avLst/>
        </a:prstGeom>
        <a:solidFill>
          <a:srgbClr val="12466B">
            <a:alpha val="40000"/>
          </a:srgb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985838">
            <a:lnSpc>
              <a:spcPct val="90000"/>
            </a:lnSpc>
            <a:spcBef>
              <a:spcPct val="0"/>
            </a:spcBef>
            <a:spcAft>
              <a:spcPct val="35000"/>
            </a:spcAft>
            <a:tabLst/>
          </a:pPr>
          <a:r>
            <a:rPr lang="fr-FR" sz="1800" b="1" kern="1200" dirty="0" smtClean="0">
              <a:solidFill>
                <a:srgbClr val="12466B"/>
              </a:solidFill>
              <a:latin typeface="Trebuchet MS" panose="020B0603020202020204" pitchFamily="34" charset="0"/>
            </a:rPr>
            <a:t>AOÛT</a:t>
          </a:r>
          <a:endParaRPr lang="fr-FR" sz="1800" b="1" kern="1200" dirty="0">
            <a:solidFill>
              <a:srgbClr val="12466B"/>
            </a:solidFill>
            <a:latin typeface="Trebuchet MS" panose="020B0603020202020204" pitchFamily="34" charset="0"/>
          </a:endParaRPr>
        </a:p>
      </dsp:txBody>
      <dsp:txXfrm rot="-5400000">
        <a:off x="1" y="472632"/>
        <a:ext cx="935863" cy="401084"/>
      </dsp:txXfrm>
    </dsp:sp>
    <dsp:sp modelId="{B40FA338-69A4-44A6-A841-458EC5369DE6}">
      <dsp:nvSpPr>
        <dsp:cNvPr id="0" name=""/>
        <dsp:cNvSpPr/>
      </dsp:nvSpPr>
      <dsp:spPr>
        <a:xfrm rot="5400000">
          <a:off x="5506031" y="-4565467"/>
          <a:ext cx="869015" cy="1000935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>
              <a:latin typeface="Trebuchet MS" panose="020B0603020202020204" pitchFamily="34" charset="0"/>
            </a:rPr>
            <a:t>1</a:t>
          </a:r>
          <a:r>
            <a:rPr lang="fr-FR" sz="2000" kern="1200" baseline="30000" dirty="0" smtClean="0">
              <a:latin typeface="Trebuchet MS" panose="020B0603020202020204" pitchFamily="34" charset="0"/>
            </a:rPr>
            <a:t>ère</a:t>
          </a:r>
          <a:r>
            <a:rPr lang="fr-FR" sz="2000" kern="1200" dirty="0" smtClean="0">
              <a:latin typeface="Trebuchet MS" panose="020B0603020202020204" pitchFamily="34" charset="0"/>
            </a:rPr>
            <a:t> séance de l'EM du Bataillon Sarine et commandants des compagnies</a:t>
          </a:r>
          <a:br>
            <a:rPr lang="fr-FR" sz="2000" kern="1200" dirty="0" smtClean="0">
              <a:latin typeface="Trebuchet MS" panose="020B0603020202020204" pitchFamily="34" charset="0"/>
            </a:rPr>
          </a:br>
          <a:r>
            <a:rPr lang="fr-FR" sz="2000" kern="1200" dirty="0" smtClean="0">
              <a:latin typeface="Trebuchet MS" panose="020B0603020202020204" pitchFamily="34" charset="0"/>
            </a:rPr>
            <a:t>(8 Bases de départ – 8 commandants)</a:t>
          </a:r>
          <a:endParaRPr lang="fr-FR" sz="2000" kern="1200" dirty="0">
            <a:latin typeface="Trebuchet MS" panose="020B0603020202020204" pitchFamily="34" charset="0"/>
          </a:endParaRPr>
        </a:p>
      </dsp:txBody>
      <dsp:txXfrm rot="-5400000">
        <a:off x="935863" y="47123"/>
        <a:ext cx="9966930" cy="784171"/>
      </dsp:txXfrm>
    </dsp:sp>
    <dsp:sp modelId="{8DBB4242-42A0-44F9-B33A-F05C72CB589A}">
      <dsp:nvSpPr>
        <dsp:cNvPr id="0" name=""/>
        <dsp:cNvSpPr/>
      </dsp:nvSpPr>
      <dsp:spPr>
        <a:xfrm rot="5400000">
          <a:off x="-200542" y="1396642"/>
          <a:ext cx="1336947" cy="935863"/>
        </a:xfrm>
        <a:prstGeom prst="chevron">
          <a:avLst/>
        </a:prstGeom>
        <a:solidFill>
          <a:srgbClr val="12466B">
            <a:alpha val="54902"/>
          </a:srgbClr>
        </a:solidFill>
        <a:ln w="12700" cap="flat" cmpd="sng" algn="ctr">
          <a:solidFill>
            <a:schemeClr val="accent2">
              <a:hueOff val="18"/>
              <a:satOff val="387"/>
              <a:lumOff val="-601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solidFill>
                <a:srgbClr val="12466B"/>
              </a:solidFill>
              <a:latin typeface="Trebuchet MS" panose="020B0603020202020204" pitchFamily="34" charset="0"/>
            </a:rPr>
            <a:t>SEPTEMBRE - DÉCEMBRE</a:t>
          </a:r>
          <a:endParaRPr lang="fr-FR" sz="1200" b="1" kern="1200" dirty="0">
            <a:solidFill>
              <a:srgbClr val="12466B"/>
            </a:solidFill>
            <a:latin typeface="Trebuchet MS" panose="020B0603020202020204" pitchFamily="34" charset="0"/>
          </a:endParaRPr>
        </a:p>
      </dsp:txBody>
      <dsp:txXfrm rot="-5400000">
        <a:off x="1" y="1664032"/>
        <a:ext cx="935863" cy="401084"/>
      </dsp:txXfrm>
    </dsp:sp>
    <dsp:sp modelId="{72E456FC-345F-432A-8A78-4678BBA60BE5}">
      <dsp:nvSpPr>
        <dsp:cNvPr id="0" name=""/>
        <dsp:cNvSpPr/>
      </dsp:nvSpPr>
      <dsp:spPr>
        <a:xfrm rot="5400000">
          <a:off x="5506031" y="-3374068"/>
          <a:ext cx="869015" cy="1000935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18"/>
              <a:satOff val="387"/>
              <a:lumOff val="-601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/>
            <a:t>Validation des statuts du RSS dans les Assemblées et les Conseils généraux de toutes les communes du district</a:t>
          </a:r>
          <a:endParaRPr lang="fr-FR" sz="2000" kern="1200" dirty="0">
            <a:latin typeface="Trebuchet MS" panose="020B0603020202020204" pitchFamily="34" charset="0"/>
          </a:endParaRPr>
        </a:p>
      </dsp:txBody>
      <dsp:txXfrm rot="-5400000">
        <a:off x="935863" y="1238522"/>
        <a:ext cx="9966930" cy="784171"/>
      </dsp:txXfrm>
    </dsp:sp>
    <dsp:sp modelId="{198A49EA-6892-4999-939B-87B4BAC29DDC}">
      <dsp:nvSpPr>
        <dsp:cNvPr id="0" name=""/>
        <dsp:cNvSpPr/>
      </dsp:nvSpPr>
      <dsp:spPr>
        <a:xfrm rot="5400000">
          <a:off x="-200542" y="2588041"/>
          <a:ext cx="1336947" cy="935863"/>
        </a:xfrm>
        <a:prstGeom prst="chevron">
          <a:avLst/>
        </a:prstGeom>
        <a:solidFill>
          <a:srgbClr val="12466B">
            <a:alpha val="69804"/>
          </a:srgbClr>
        </a:solidFill>
        <a:ln w="12700" cap="flat" cmpd="sng" algn="ctr">
          <a:solidFill>
            <a:schemeClr val="accent2">
              <a:hueOff val="37"/>
              <a:satOff val="775"/>
              <a:lumOff val="-120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solidFill>
                <a:schemeClr val="bg1"/>
              </a:solidFill>
              <a:latin typeface="Trebuchet MS" panose="020B0603020202020204" pitchFamily="34" charset="0"/>
            </a:rPr>
            <a:t>SEPTEMBRE - DÉCEMBRE</a:t>
          </a:r>
          <a:endParaRPr lang="fr-FR" sz="1200" b="1" kern="1200" dirty="0">
            <a:solidFill>
              <a:schemeClr val="bg1"/>
            </a:solidFill>
            <a:latin typeface="Trebuchet MS" panose="020B0603020202020204" pitchFamily="34" charset="0"/>
          </a:endParaRPr>
        </a:p>
      </dsp:txBody>
      <dsp:txXfrm rot="-5400000">
        <a:off x="1" y="2855431"/>
        <a:ext cx="935863" cy="401084"/>
      </dsp:txXfrm>
    </dsp:sp>
    <dsp:sp modelId="{FDD63BA9-2A84-4F27-9469-5C6D05EC6560}">
      <dsp:nvSpPr>
        <dsp:cNvPr id="0" name=""/>
        <dsp:cNvSpPr/>
      </dsp:nvSpPr>
      <dsp:spPr>
        <a:xfrm rot="5400000">
          <a:off x="5506031" y="-2182669"/>
          <a:ext cx="869015" cy="1000935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37"/>
              <a:satOff val="775"/>
              <a:lumOff val="-120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/>
            <a:t>Finalisation des organigrammes</a:t>
          </a:r>
          <a:endParaRPr lang="fr-FR" sz="2000" kern="1200" dirty="0">
            <a:latin typeface="Trebuchet MS" panose="020B0603020202020204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/>
            <a:t>Planification finale de la mise en place organisationnelle</a:t>
          </a:r>
          <a:endParaRPr lang="fr-FR" sz="2000" kern="1200" dirty="0"/>
        </a:p>
      </dsp:txBody>
      <dsp:txXfrm rot="-5400000">
        <a:off x="935863" y="2429921"/>
        <a:ext cx="9966930" cy="784171"/>
      </dsp:txXfrm>
    </dsp:sp>
    <dsp:sp modelId="{02891F74-EF2D-41FE-88CB-63F17B13F9F9}">
      <dsp:nvSpPr>
        <dsp:cNvPr id="0" name=""/>
        <dsp:cNvSpPr/>
      </dsp:nvSpPr>
      <dsp:spPr>
        <a:xfrm rot="5400000">
          <a:off x="-200542" y="3779440"/>
          <a:ext cx="1336947" cy="935863"/>
        </a:xfrm>
        <a:prstGeom prst="chevron">
          <a:avLst/>
        </a:prstGeom>
        <a:solidFill>
          <a:srgbClr val="12466B">
            <a:alpha val="85098"/>
          </a:srgbClr>
        </a:solidFill>
        <a:ln w="12700" cap="flat" cmpd="sng" algn="ctr">
          <a:solidFill>
            <a:schemeClr val="accent2">
              <a:hueOff val="55"/>
              <a:satOff val="1162"/>
              <a:lumOff val="-1803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>
              <a:solidFill>
                <a:schemeClr val="bg1"/>
              </a:solidFill>
              <a:latin typeface="Trebuchet MS" panose="020B0603020202020204" pitchFamily="34" charset="0"/>
            </a:rPr>
            <a:t>JANVIER</a:t>
          </a:r>
          <a:br>
            <a:rPr lang="fr-FR" sz="1600" b="1" kern="1200" dirty="0" smtClean="0">
              <a:solidFill>
                <a:schemeClr val="bg1"/>
              </a:solidFill>
              <a:latin typeface="Trebuchet MS" panose="020B0603020202020204" pitchFamily="34" charset="0"/>
            </a:rPr>
          </a:br>
          <a:r>
            <a:rPr lang="fr-FR" sz="1600" b="1" kern="1200" dirty="0" smtClean="0">
              <a:solidFill>
                <a:schemeClr val="bg1"/>
              </a:solidFill>
              <a:latin typeface="Trebuchet MS" panose="020B0603020202020204" pitchFamily="34" charset="0"/>
            </a:rPr>
            <a:t>2023</a:t>
          </a:r>
          <a:endParaRPr lang="fr-FR" sz="1600" b="1" kern="1200" dirty="0">
            <a:solidFill>
              <a:schemeClr val="bg1"/>
            </a:solidFill>
            <a:latin typeface="Trebuchet MS" panose="020B0603020202020204" pitchFamily="34" charset="0"/>
          </a:endParaRPr>
        </a:p>
      </dsp:txBody>
      <dsp:txXfrm rot="-5400000">
        <a:off x="1" y="4046830"/>
        <a:ext cx="935863" cy="401084"/>
      </dsp:txXfrm>
    </dsp:sp>
    <dsp:sp modelId="{74FDB634-F539-4DDC-A39F-6A741F6943A6}">
      <dsp:nvSpPr>
        <dsp:cNvPr id="0" name=""/>
        <dsp:cNvSpPr/>
      </dsp:nvSpPr>
      <dsp:spPr>
        <a:xfrm rot="5400000">
          <a:off x="5505803" y="-991041"/>
          <a:ext cx="869472" cy="1000935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55"/>
              <a:satOff val="1162"/>
              <a:lumOff val="-1803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>
              <a:latin typeface="Trebuchet MS" panose="020B0603020202020204" pitchFamily="34" charset="0"/>
            </a:rPr>
            <a:t>Go Live nouvelle organisation (niveau organisationnelle uniquement)</a:t>
          </a:r>
          <a:endParaRPr lang="fr-FR" sz="2000" kern="1200" dirty="0">
            <a:latin typeface="Trebuchet MS" panose="020B0603020202020204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000" kern="1200" dirty="0" smtClean="0">
              <a:latin typeface="Trebuchet MS" panose="020B0603020202020204" pitchFamily="34" charset="0"/>
            </a:rPr>
            <a:t>Début phase transitoire (adaptations infrastructurelles et logistiques)</a:t>
          </a:r>
          <a:endParaRPr lang="fr-FR" sz="2000" kern="1200" dirty="0">
            <a:latin typeface="Trebuchet MS" panose="020B0603020202020204" pitchFamily="34" charset="0"/>
          </a:endParaRPr>
        </a:p>
      </dsp:txBody>
      <dsp:txXfrm rot="-5400000">
        <a:off x="935863" y="3621343"/>
        <a:ext cx="9966908" cy="78458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D236C9-FF12-4C0E-BDF3-68C8E373B1B5}">
      <dsp:nvSpPr>
        <dsp:cNvPr id="0" name=""/>
        <dsp:cNvSpPr/>
      </dsp:nvSpPr>
      <dsp:spPr>
        <a:xfrm rot="10800000">
          <a:off x="903854" y="993"/>
          <a:ext cx="3304087" cy="286486"/>
        </a:xfrm>
        <a:prstGeom prst="homePlat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/>
            <a:t>Fribourg </a:t>
          </a:r>
          <a:r>
            <a:rPr lang="fr-FR" sz="800" b="0" kern="1200" dirty="0"/>
            <a:t>(inclus Givisiez)</a:t>
          </a:r>
        </a:p>
      </dsp:txBody>
      <dsp:txXfrm rot="10800000">
        <a:off x="975475" y="993"/>
        <a:ext cx="3232466" cy="286486"/>
      </dsp:txXfrm>
    </dsp:sp>
    <dsp:sp modelId="{7EBA2874-D103-4D8B-BE8D-96919C7CE98F}">
      <dsp:nvSpPr>
        <dsp:cNvPr id="0" name=""/>
        <dsp:cNvSpPr/>
      </dsp:nvSpPr>
      <dsp:spPr>
        <a:xfrm>
          <a:off x="760610" y="993"/>
          <a:ext cx="286486" cy="286486"/>
        </a:xfrm>
        <a:prstGeom prst="ellipse">
          <a:avLst/>
        </a:prstGeom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95000" t="6019" r="-27900" b="6019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7EFFC3-2FEB-460A-87C9-84D44D380CE6}">
      <dsp:nvSpPr>
        <dsp:cNvPr id="0" name=""/>
        <dsp:cNvSpPr/>
      </dsp:nvSpPr>
      <dsp:spPr>
        <a:xfrm rot="10800000">
          <a:off x="903854" y="372998"/>
          <a:ext cx="3304087" cy="286486"/>
        </a:xfrm>
        <a:prstGeom prst="homePlate">
          <a:avLst/>
        </a:prstGeom>
        <a:solidFill>
          <a:schemeClr val="accent3">
            <a:hueOff val="-4"/>
            <a:satOff val="-3"/>
            <a:lumOff val="-85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/>
            <a:t>Granges-</a:t>
          </a:r>
          <a:r>
            <a:rPr lang="fr-FR" sz="1300" b="1" kern="1200" dirty="0" err="1"/>
            <a:t>Paccot</a:t>
          </a:r>
          <a:endParaRPr lang="fr-FR" sz="1300" b="1" kern="1200" dirty="0"/>
        </a:p>
      </dsp:txBody>
      <dsp:txXfrm rot="10800000">
        <a:off x="975475" y="372998"/>
        <a:ext cx="3232466" cy="286486"/>
      </dsp:txXfrm>
    </dsp:sp>
    <dsp:sp modelId="{EA5A0AC3-1A2C-4C5E-961C-96808518D633}">
      <dsp:nvSpPr>
        <dsp:cNvPr id="0" name=""/>
        <dsp:cNvSpPr/>
      </dsp:nvSpPr>
      <dsp:spPr>
        <a:xfrm>
          <a:off x="760610" y="372998"/>
          <a:ext cx="286486" cy="286486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19CE7E-97C0-4C0F-BBD8-EB10A2D7129C}">
      <dsp:nvSpPr>
        <dsp:cNvPr id="0" name=""/>
        <dsp:cNvSpPr/>
      </dsp:nvSpPr>
      <dsp:spPr>
        <a:xfrm rot="10800000">
          <a:off x="903854" y="745002"/>
          <a:ext cx="3304087" cy="286486"/>
        </a:xfrm>
        <a:prstGeom prst="homePlate">
          <a:avLst/>
        </a:prstGeom>
        <a:solidFill>
          <a:schemeClr val="accent3">
            <a:hueOff val="-8"/>
            <a:satOff val="-7"/>
            <a:lumOff val="-169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/>
            <a:t>Sarine Nord </a:t>
          </a:r>
          <a:r>
            <a:rPr lang="fr-FR" sz="800" kern="1200" dirty="0"/>
            <a:t>(Belfaux, La </a:t>
          </a:r>
          <a:r>
            <a:rPr lang="fr-FR" sz="800" kern="1200" dirty="0" err="1"/>
            <a:t>Sonnaz</a:t>
          </a:r>
          <a:r>
            <a:rPr lang="fr-FR" sz="800" kern="1200" dirty="0"/>
            <a:t>, Grolley, </a:t>
          </a:r>
          <a:r>
            <a:rPr lang="fr-FR" sz="800" kern="1200" dirty="0" err="1"/>
            <a:t>Ponthaux</a:t>
          </a:r>
          <a:r>
            <a:rPr lang="fr-FR" sz="800" kern="1200" dirty="0"/>
            <a:t>)</a:t>
          </a:r>
        </a:p>
      </dsp:txBody>
      <dsp:txXfrm rot="10800000">
        <a:off x="975475" y="745002"/>
        <a:ext cx="3232466" cy="286486"/>
      </dsp:txXfrm>
    </dsp:sp>
    <dsp:sp modelId="{801FD5E3-DA1B-4AF8-AEAE-2D5FEEE62849}">
      <dsp:nvSpPr>
        <dsp:cNvPr id="0" name=""/>
        <dsp:cNvSpPr/>
      </dsp:nvSpPr>
      <dsp:spPr>
        <a:xfrm>
          <a:off x="760610" y="745002"/>
          <a:ext cx="286486" cy="286486"/>
        </a:xfrm>
        <a:prstGeom prst="ellipse">
          <a:avLst/>
        </a:prstGeom>
        <a:blipFill dpi="0"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6019" t="-264" r="6019" b="-264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120CC3-706D-4788-9428-84655D1793F9}">
      <dsp:nvSpPr>
        <dsp:cNvPr id="0" name=""/>
        <dsp:cNvSpPr/>
      </dsp:nvSpPr>
      <dsp:spPr>
        <a:xfrm rot="10800000">
          <a:off x="903854" y="1117007"/>
          <a:ext cx="3304087" cy="286486"/>
        </a:xfrm>
        <a:prstGeom prst="homePlate">
          <a:avLst/>
        </a:prstGeom>
        <a:solidFill>
          <a:schemeClr val="accent3">
            <a:hueOff val="-13"/>
            <a:satOff val="-10"/>
            <a:lumOff val="-254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/>
            <a:t>Marly</a:t>
          </a:r>
          <a:r>
            <a:rPr lang="fr-FR" sz="1000" kern="1200" dirty="0"/>
            <a:t> </a:t>
          </a:r>
          <a:r>
            <a:rPr lang="fr-FR" sz="800" kern="1200" dirty="0"/>
            <a:t>(inclus </a:t>
          </a:r>
          <a:r>
            <a:rPr lang="fr-FR" sz="800" kern="1200" dirty="0" err="1"/>
            <a:t>Villarsel</a:t>
          </a:r>
          <a:r>
            <a:rPr lang="fr-FR" sz="800" kern="1200" dirty="0"/>
            <a:t>-sur-Marly, Pierrafortscha)</a:t>
          </a:r>
        </a:p>
      </dsp:txBody>
      <dsp:txXfrm rot="10800000">
        <a:off x="975475" y="1117007"/>
        <a:ext cx="3232466" cy="286486"/>
      </dsp:txXfrm>
    </dsp:sp>
    <dsp:sp modelId="{3C7DAA42-FBE4-4DEC-A979-B0BF9E05F701}">
      <dsp:nvSpPr>
        <dsp:cNvPr id="0" name=""/>
        <dsp:cNvSpPr/>
      </dsp:nvSpPr>
      <dsp:spPr>
        <a:xfrm>
          <a:off x="760610" y="1117007"/>
          <a:ext cx="286486" cy="286486"/>
        </a:xfrm>
        <a:prstGeom prst="ellipse">
          <a:avLst/>
        </a:prstGeom>
        <a:blipFill dpi="0" rotWithShape="1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302" t="6019" r="12302" b="6019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A70C11-AB86-4092-8426-ED3C5667EB30}">
      <dsp:nvSpPr>
        <dsp:cNvPr id="0" name=""/>
        <dsp:cNvSpPr/>
      </dsp:nvSpPr>
      <dsp:spPr>
        <a:xfrm rot="10800000">
          <a:off x="903854" y="1489011"/>
          <a:ext cx="3304087" cy="286486"/>
        </a:xfrm>
        <a:prstGeom prst="homePlate">
          <a:avLst/>
        </a:prstGeom>
        <a:solidFill>
          <a:schemeClr val="accent3">
            <a:hueOff val="-17"/>
            <a:satOff val="-13"/>
            <a:lumOff val="-339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/>
            <a:t>Le Mouret </a:t>
          </a:r>
          <a:r>
            <a:rPr lang="fr-FR" sz="800" b="0" kern="1200" dirty="0"/>
            <a:t>(inclus </a:t>
          </a:r>
          <a:r>
            <a:rPr lang="fr-FR" sz="800" b="0" kern="1200" dirty="0" err="1"/>
            <a:t>Ferpicloz</a:t>
          </a:r>
          <a:r>
            <a:rPr lang="fr-FR" sz="800" b="0" kern="1200" dirty="0"/>
            <a:t>)</a:t>
          </a:r>
        </a:p>
      </dsp:txBody>
      <dsp:txXfrm rot="10800000">
        <a:off x="975475" y="1489011"/>
        <a:ext cx="3232466" cy="286486"/>
      </dsp:txXfrm>
    </dsp:sp>
    <dsp:sp modelId="{5F5EDB30-E60B-4093-BC28-E971BF107CE7}">
      <dsp:nvSpPr>
        <dsp:cNvPr id="0" name=""/>
        <dsp:cNvSpPr/>
      </dsp:nvSpPr>
      <dsp:spPr>
        <a:xfrm>
          <a:off x="760610" y="1489011"/>
          <a:ext cx="286486" cy="286486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DE4A5E-5C86-4B18-8D23-419AFBAD5528}">
      <dsp:nvSpPr>
        <dsp:cNvPr id="0" name=""/>
        <dsp:cNvSpPr/>
      </dsp:nvSpPr>
      <dsp:spPr>
        <a:xfrm rot="10800000">
          <a:off x="903854" y="1861016"/>
          <a:ext cx="3304087" cy="286486"/>
        </a:xfrm>
        <a:prstGeom prst="homePlate">
          <a:avLst/>
        </a:prstGeom>
        <a:solidFill>
          <a:schemeClr val="accent3">
            <a:hueOff val="-21"/>
            <a:satOff val="-17"/>
            <a:lumOff val="-424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/>
            <a:t>Petite Sarine </a:t>
          </a:r>
          <a:r>
            <a:rPr lang="fr-FR" sz="800" kern="1200" dirty="0"/>
            <a:t>(</a:t>
          </a:r>
          <a:r>
            <a:rPr lang="fr-FR" sz="800" kern="1200" dirty="0" err="1"/>
            <a:t>Treyvaux</a:t>
          </a:r>
          <a:r>
            <a:rPr lang="fr-FR" sz="800" kern="1200" dirty="0"/>
            <a:t>, Bois d'Amont)</a:t>
          </a:r>
        </a:p>
      </dsp:txBody>
      <dsp:txXfrm rot="10800000">
        <a:off x="975475" y="1861016"/>
        <a:ext cx="3232466" cy="286486"/>
      </dsp:txXfrm>
    </dsp:sp>
    <dsp:sp modelId="{DF800355-B119-4CB9-AAEF-0AA264612F7B}">
      <dsp:nvSpPr>
        <dsp:cNvPr id="0" name=""/>
        <dsp:cNvSpPr/>
      </dsp:nvSpPr>
      <dsp:spPr>
        <a:xfrm>
          <a:off x="760610" y="1861016"/>
          <a:ext cx="286486" cy="286486"/>
        </a:xfrm>
        <a:prstGeom prst="ellipse">
          <a:avLst/>
        </a:prstGeom>
        <a:blipFill dpi="0" rotWithShape="1"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302" t="-264" r="12302" b="-264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1DFD52-7AEC-4826-889F-DEA7090E0158}">
      <dsp:nvSpPr>
        <dsp:cNvPr id="0" name=""/>
        <dsp:cNvSpPr/>
      </dsp:nvSpPr>
      <dsp:spPr>
        <a:xfrm rot="10800000">
          <a:off x="903854" y="2233020"/>
          <a:ext cx="3304087" cy="286486"/>
        </a:xfrm>
        <a:prstGeom prst="homePlate">
          <a:avLst/>
        </a:prstGeom>
        <a:solidFill>
          <a:schemeClr val="accent3">
            <a:hueOff val="-25"/>
            <a:satOff val="-20"/>
            <a:lumOff val="-509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/>
            <a:t>Villars-sur-Glâne</a:t>
          </a:r>
        </a:p>
      </dsp:txBody>
      <dsp:txXfrm rot="10800000">
        <a:off x="975475" y="2233020"/>
        <a:ext cx="3232466" cy="286486"/>
      </dsp:txXfrm>
    </dsp:sp>
    <dsp:sp modelId="{AFB0FF88-2E44-4C77-939A-A57B638EC0A4}">
      <dsp:nvSpPr>
        <dsp:cNvPr id="0" name=""/>
        <dsp:cNvSpPr/>
      </dsp:nvSpPr>
      <dsp:spPr>
        <a:xfrm>
          <a:off x="760610" y="2233020"/>
          <a:ext cx="286486" cy="286486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" r="-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38B23FB-3AF2-4783-BB6D-4C6F558791CB}">
      <dsp:nvSpPr>
        <dsp:cNvPr id="0" name=""/>
        <dsp:cNvSpPr/>
      </dsp:nvSpPr>
      <dsp:spPr>
        <a:xfrm rot="10800000">
          <a:off x="903854" y="2605025"/>
          <a:ext cx="3304087" cy="286486"/>
        </a:xfrm>
        <a:prstGeom prst="homePlate">
          <a:avLst/>
        </a:prstGeom>
        <a:solidFill>
          <a:schemeClr val="accent3">
            <a:hueOff val="-29"/>
            <a:satOff val="-23"/>
            <a:lumOff val="-594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err="1"/>
            <a:t>Corminboeuf</a:t>
          </a:r>
          <a:endParaRPr lang="fr-FR" sz="1300" b="1" kern="1200" dirty="0"/>
        </a:p>
      </dsp:txBody>
      <dsp:txXfrm rot="10800000">
        <a:off x="975475" y="2605025"/>
        <a:ext cx="3232466" cy="286486"/>
      </dsp:txXfrm>
    </dsp:sp>
    <dsp:sp modelId="{BF2FB44C-EC39-4140-B0C5-DF13396784B6}">
      <dsp:nvSpPr>
        <dsp:cNvPr id="0" name=""/>
        <dsp:cNvSpPr/>
      </dsp:nvSpPr>
      <dsp:spPr>
        <a:xfrm>
          <a:off x="760610" y="2605025"/>
          <a:ext cx="286486" cy="286486"/>
        </a:xfrm>
        <a:prstGeom prst="ellipse">
          <a:avLst/>
        </a:prstGeom>
        <a:blipFill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" r="-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7B91B6-36A6-405A-9177-C2E4CE78CE5C}">
      <dsp:nvSpPr>
        <dsp:cNvPr id="0" name=""/>
        <dsp:cNvSpPr/>
      </dsp:nvSpPr>
      <dsp:spPr>
        <a:xfrm rot="10800000">
          <a:off x="903854" y="2977029"/>
          <a:ext cx="3304087" cy="286486"/>
        </a:xfrm>
        <a:prstGeom prst="homePlate">
          <a:avLst/>
        </a:prstGeom>
        <a:solidFill>
          <a:schemeClr val="accent3">
            <a:hueOff val="-34"/>
            <a:satOff val="-27"/>
            <a:lumOff val="-679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/>
            <a:t>M.A.N. </a:t>
          </a:r>
          <a:r>
            <a:rPr lang="fr-FR" sz="800" b="0" kern="1200" dirty="0"/>
            <a:t>(</a:t>
          </a:r>
          <a:r>
            <a:rPr lang="fr-FR" sz="800" b="0" kern="1200" dirty="0" err="1"/>
            <a:t>Matran</a:t>
          </a:r>
          <a:r>
            <a:rPr lang="fr-FR" sz="800" b="0" kern="1200" dirty="0"/>
            <a:t>, </a:t>
          </a:r>
          <a:r>
            <a:rPr lang="fr-FR" sz="800" b="0" kern="1200" dirty="0" err="1"/>
            <a:t>Avry</a:t>
          </a:r>
          <a:r>
            <a:rPr lang="fr-FR" sz="800" b="0" kern="1200" dirty="0"/>
            <a:t>, Neyruz)</a:t>
          </a:r>
        </a:p>
      </dsp:txBody>
      <dsp:txXfrm rot="10800000">
        <a:off x="975475" y="2977029"/>
        <a:ext cx="3232466" cy="286486"/>
      </dsp:txXfrm>
    </dsp:sp>
    <dsp:sp modelId="{86895835-DD40-4B0F-8944-BEB8223CABB0}">
      <dsp:nvSpPr>
        <dsp:cNvPr id="0" name=""/>
        <dsp:cNvSpPr/>
      </dsp:nvSpPr>
      <dsp:spPr>
        <a:xfrm>
          <a:off x="760610" y="2977029"/>
          <a:ext cx="286486" cy="286486"/>
        </a:xfrm>
        <a:prstGeom prst="ellipse">
          <a:avLst/>
        </a:prstGeom>
        <a:blipFill dpi="0" rotWithShape="1"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302" t="-264" r="12302" b="-264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3DCC11-09A4-4E35-9C37-46BA70827996}">
      <dsp:nvSpPr>
        <dsp:cNvPr id="0" name=""/>
        <dsp:cNvSpPr/>
      </dsp:nvSpPr>
      <dsp:spPr>
        <a:xfrm rot="10800000">
          <a:off x="903854" y="3349034"/>
          <a:ext cx="3304087" cy="286486"/>
        </a:xfrm>
        <a:prstGeom prst="homePlate">
          <a:avLst/>
        </a:prstGeom>
        <a:solidFill>
          <a:schemeClr val="accent3">
            <a:hueOff val="-38"/>
            <a:satOff val="-30"/>
            <a:lumOff val="-764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/>
            <a:t>NPC </a:t>
          </a:r>
          <a:r>
            <a:rPr lang="fr-FR" sz="800" b="0" kern="1200" dirty="0"/>
            <a:t>(Prez)</a:t>
          </a:r>
        </a:p>
      </dsp:txBody>
      <dsp:txXfrm rot="10800000">
        <a:off x="975475" y="3349034"/>
        <a:ext cx="3232466" cy="286486"/>
      </dsp:txXfrm>
    </dsp:sp>
    <dsp:sp modelId="{F98CF2EE-31CC-4412-9548-C69D651DE69A}">
      <dsp:nvSpPr>
        <dsp:cNvPr id="0" name=""/>
        <dsp:cNvSpPr/>
      </dsp:nvSpPr>
      <dsp:spPr>
        <a:xfrm>
          <a:off x="760610" y="3349034"/>
          <a:ext cx="286486" cy="286486"/>
        </a:xfrm>
        <a:prstGeom prst="ellipse">
          <a:avLst/>
        </a:prstGeom>
        <a:blipFill dpi="0" rotWithShape="1">
          <a:blip xmlns:r="http://schemas.openxmlformats.org/officeDocument/2006/relationships"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302" t="6019" r="12302" b="6019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56BEEA-8395-4252-BA2D-91410545BC76}">
      <dsp:nvSpPr>
        <dsp:cNvPr id="0" name=""/>
        <dsp:cNvSpPr/>
      </dsp:nvSpPr>
      <dsp:spPr>
        <a:xfrm rot="10800000">
          <a:off x="903854" y="3721039"/>
          <a:ext cx="3304087" cy="286486"/>
        </a:xfrm>
        <a:prstGeom prst="homePlate">
          <a:avLst/>
        </a:prstGeom>
        <a:solidFill>
          <a:schemeClr val="accent3">
            <a:hueOff val="-42"/>
            <a:satOff val="-33"/>
            <a:lumOff val="-849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/>
            <a:t>Hauterive</a:t>
          </a:r>
        </a:p>
      </dsp:txBody>
      <dsp:txXfrm rot="10800000">
        <a:off x="975475" y="3721039"/>
        <a:ext cx="3232466" cy="286486"/>
      </dsp:txXfrm>
    </dsp:sp>
    <dsp:sp modelId="{15E13AE7-9203-4C6B-B0DD-50B61110A529}">
      <dsp:nvSpPr>
        <dsp:cNvPr id="0" name=""/>
        <dsp:cNvSpPr/>
      </dsp:nvSpPr>
      <dsp:spPr>
        <a:xfrm>
          <a:off x="760610" y="3721039"/>
          <a:ext cx="286486" cy="286486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4AC8FE-FBB1-47AC-8C85-340E51DF06AE}">
      <dsp:nvSpPr>
        <dsp:cNvPr id="0" name=""/>
        <dsp:cNvSpPr/>
      </dsp:nvSpPr>
      <dsp:spPr>
        <a:xfrm rot="10800000">
          <a:off x="903854" y="4093043"/>
          <a:ext cx="3304087" cy="286486"/>
        </a:xfrm>
        <a:prstGeom prst="homePlate">
          <a:avLst/>
        </a:prstGeom>
        <a:solidFill>
          <a:schemeClr val="accent3">
            <a:hueOff val="-46"/>
            <a:satOff val="-37"/>
            <a:lumOff val="-934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err="1"/>
            <a:t>Gibloux</a:t>
          </a:r>
          <a:endParaRPr lang="fr-FR" sz="1300" b="1" kern="1200" dirty="0"/>
        </a:p>
      </dsp:txBody>
      <dsp:txXfrm rot="10800000">
        <a:off x="975475" y="4093043"/>
        <a:ext cx="3232466" cy="286486"/>
      </dsp:txXfrm>
    </dsp:sp>
    <dsp:sp modelId="{D17FC804-D7AC-40FF-B640-B47C5B150C24}">
      <dsp:nvSpPr>
        <dsp:cNvPr id="0" name=""/>
        <dsp:cNvSpPr/>
      </dsp:nvSpPr>
      <dsp:spPr>
        <a:xfrm>
          <a:off x="760610" y="4093043"/>
          <a:ext cx="286486" cy="286486"/>
        </a:xfrm>
        <a:prstGeom prst="ellipse">
          <a:avLst/>
        </a:prstGeom>
        <a:blipFill dpi="0" rotWithShape="1">
          <a:blip xmlns:r="http://schemas.openxmlformats.org/officeDocument/2006/relationships"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64" t="-264" r="-264" b="-264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B6C313-BC11-4AEE-B953-0FD35A787FDD}">
      <dsp:nvSpPr>
        <dsp:cNvPr id="0" name=""/>
        <dsp:cNvSpPr/>
      </dsp:nvSpPr>
      <dsp:spPr>
        <a:xfrm rot="10800000">
          <a:off x="903854" y="4465048"/>
          <a:ext cx="3304087" cy="286486"/>
        </a:xfrm>
        <a:prstGeom prst="homePlate">
          <a:avLst/>
        </a:prstGeom>
        <a:solidFill>
          <a:schemeClr val="accent3">
            <a:hueOff val="-50"/>
            <a:satOff val="-40"/>
            <a:lumOff val="-1019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332" tIns="49530" rIns="92456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/>
            <a:t>Sarine Ouest </a:t>
          </a:r>
          <a:r>
            <a:rPr lang="fr-FR" sz="800" b="0" kern="1200" dirty="0"/>
            <a:t>(</a:t>
          </a:r>
          <a:r>
            <a:rPr lang="fr-FR" sz="800" b="0" kern="1200" dirty="0" err="1"/>
            <a:t>Autigny</a:t>
          </a:r>
          <a:r>
            <a:rPr lang="fr-FR" sz="800" b="0" kern="1200" dirty="0"/>
            <a:t>, </a:t>
          </a:r>
          <a:r>
            <a:rPr lang="fr-FR" sz="800" b="0" kern="1200" dirty="0" err="1"/>
            <a:t>Chénens</a:t>
          </a:r>
          <a:r>
            <a:rPr lang="fr-FR" sz="800" b="0" kern="1200" dirty="0"/>
            <a:t>, </a:t>
          </a:r>
          <a:r>
            <a:rPr lang="fr-FR" sz="800" b="0" kern="1200" dirty="0" err="1"/>
            <a:t>Cottens</a:t>
          </a:r>
          <a:r>
            <a:rPr lang="fr-FR" sz="800" b="0" kern="1200" dirty="0"/>
            <a:t>, La </a:t>
          </a:r>
          <a:r>
            <a:rPr lang="fr-FR" sz="800" b="0" kern="1200" dirty="0" err="1"/>
            <a:t>Brillaz</a:t>
          </a:r>
          <a:r>
            <a:rPr lang="fr-FR" sz="800" b="0" kern="1200" dirty="0"/>
            <a:t>)</a:t>
          </a:r>
        </a:p>
      </dsp:txBody>
      <dsp:txXfrm rot="10800000">
        <a:off x="975475" y="4465048"/>
        <a:ext cx="3232466" cy="286486"/>
      </dsp:txXfrm>
    </dsp:sp>
    <dsp:sp modelId="{07E42DE8-1661-4CE7-99F0-65BAD0073E6C}">
      <dsp:nvSpPr>
        <dsp:cNvPr id="0" name=""/>
        <dsp:cNvSpPr/>
      </dsp:nvSpPr>
      <dsp:spPr>
        <a:xfrm>
          <a:off x="760610" y="4465048"/>
          <a:ext cx="286486" cy="286486"/>
        </a:xfrm>
        <a:prstGeom prst="ellipse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21165E-94ED-42D5-AAB0-70143FB6B899}">
      <dsp:nvSpPr>
        <dsp:cNvPr id="0" name=""/>
        <dsp:cNvSpPr/>
      </dsp:nvSpPr>
      <dsp:spPr>
        <a:xfrm rot="5400000">
          <a:off x="3911081" y="-2201264"/>
          <a:ext cx="455295" cy="4972025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Zones = Fribourg, Givisiez et Granges-</a:t>
          </a:r>
          <a:r>
            <a:rPr lang="fr-FR" sz="900" kern="1200" dirty="0" err="1"/>
            <a:t>Paccot</a:t>
          </a:r>
          <a:r>
            <a:rPr lang="fr-FR" sz="900" kern="1200" dirty="0"/>
            <a:t> (+ La </a:t>
          </a:r>
          <a:r>
            <a:rPr lang="fr-FR" sz="900" kern="1200" dirty="0" err="1"/>
            <a:t>Sonnaz</a:t>
          </a:r>
          <a:r>
            <a:rPr lang="fr-FR" sz="900" kern="1200" dirty="0"/>
            <a:t> en P1 et P2)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Caserne louée = Fribourg </a:t>
          </a:r>
          <a:r>
            <a:rPr lang="fr-FR" sz="900" b="1" kern="1200" dirty="0">
              <a:solidFill>
                <a:srgbClr val="00497C"/>
              </a:solidFill>
              <a:sym typeface="Wingdings" panose="05000000000000000000" pitchFamily="2" charset="2"/>
            </a:rPr>
            <a:t> Etude : Construction caserne unique (SAS et Pompiers)</a:t>
          </a:r>
          <a:endParaRPr lang="fr-FR" sz="900" b="1" kern="1200" dirty="0">
            <a:solidFill>
              <a:srgbClr val="00497C"/>
            </a:solidFill>
          </a:endParaRPr>
        </a:p>
      </dsp:txBody>
      <dsp:txXfrm rot="-5400000">
        <a:off x="1652716" y="79327"/>
        <a:ext cx="4949799" cy="410843"/>
      </dsp:txXfrm>
    </dsp:sp>
    <dsp:sp modelId="{9B082B54-4E22-4E5E-A647-5A0F64D0ACEE}">
      <dsp:nvSpPr>
        <dsp:cNvPr id="0" name=""/>
        <dsp:cNvSpPr/>
      </dsp:nvSpPr>
      <dsp:spPr>
        <a:xfrm>
          <a:off x="335354" y="188"/>
          <a:ext cx="1317362" cy="569119"/>
        </a:xfrm>
        <a:prstGeom prst="roundRect">
          <a:avLst/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err="1"/>
            <a:t>cp</a:t>
          </a:r>
          <a:r>
            <a:rPr lang="fr-FR" sz="1300" b="1" kern="1200" dirty="0"/>
            <a:t> </a:t>
          </a:r>
          <a:r>
            <a:rPr lang="fr-FR" sz="1300" b="1" kern="1200" dirty="0" smtClean="0"/>
            <a:t>FRIBOURG</a:t>
          </a:r>
          <a:endParaRPr lang="fr-FR" sz="1300" b="1" kern="1200" dirty="0"/>
        </a:p>
      </dsp:txBody>
      <dsp:txXfrm>
        <a:off x="363136" y="27970"/>
        <a:ext cx="1261798" cy="513555"/>
      </dsp:txXfrm>
    </dsp:sp>
    <dsp:sp modelId="{A249A9E2-5D6D-489C-B8C8-4FD8963DCF0F}">
      <dsp:nvSpPr>
        <dsp:cNvPr id="0" name=""/>
        <dsp:cNvSpPr/>
      </dsp:nvSpPr>
      <dsp:spPr>
        <a:xfrm rot="5400000">
          <a:off x="3911081" y="-1603688"/>
          <a:ext cx="455295" cy="4972025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Zones = Belfaux, La </a:t>
          </a:r>
          <a:r>
            <a:rPr lang="fr-FR" sz="900" kern="1200" dirty="0" err="1"/>
            <a:t>Sonnaz</a:t>
          </a:r>
          <a:r>
            <a:rPr lang="fr-FR" sz="900" kern="1200" dirty="0"/>
            <a:t>, </a:t>
          </a:r>
          <a:r>
            <a:rPr lang="fr-FR" sz="900" kern="1200" dirty="0" smtClean="0"/>
            <a:t>Grolley, </a:t>
          </a:r>
          <a:r>
            <a:rPr lang="fr-FR" sz="900" kern="1200" dirty="0" err="1" smtClean="0"/>
            <a:t>Ponthaux</a:t>
          </a:r>
          <a:endParaRPr lang="fr-FR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Casernes louées = Belfaux + Grolley </a:t>
          </a:r>
          <a:r>
            <a:rPr lang="fr-FR" sz="900" b="1" kern="1200" dirty="0">
              <a:solidFill>
                <a:srgbClr val="00497C"/>
              </a:solidFill>
              <a:sym typeface="Wingdings" panose="05000000000000000000" pitchFamily="2" charset="2"/>
            </a:rPr>
            <a:t> Etude : Construction 1 caserne pour la zone</a:t>
          </a:r>
          <a:endParaRPr lang="fr-FR" sz="900" kern="1200" dirty="0">
            <a:solidFill>
              <a:srgbClr val="00497C"/>
            </a:solidFill>
          </a:endParaRPr>
        </a:p>
      </dsp:txBody>
      <dsp:txXfrm rot="-5400000">
        <a:off x="1652716" y="676903"/>
        <a:ext cx="4949799" cy="410843"/>
      </dsp:txXfrm>
    </dsp:sp>
    <dsp:sp modelId="{8F8F6136-C659-4637-9086-D19EF26548E7}">
      <dsp:nvSpPr>
        <dsp:cNvPr id="0" name=""/>
        <dsp:cNvSpPr/>
      </dsp:nvSpPr>
      <dsp:spPr>
        <a:xfrm>
          <a:off x="335354" y="597764"/>
          <a:ext cx="1317362" cy="569119"/>
        </a:xfrm>
        <a:prstGeom prst="roundRect">
          <a:avLst/>
        </a:prstGeom>
        <a:solidFill>
          <a:schemeClr val="accent3">
            <a:shade val="80000"/>
            <a:hueOff val="29169"/>
            <a:satOff val="-946"/>
            <a:lumOff val="368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err="1"/>
            <a:t>cp</a:t>
          </a:r>
          <a:r>
            <a:rPr lang="fr-FR" sz="1300" b="1" kern="1200" dirty="0"/>
            <a:t> </a:t>
          </a:r>
          <a:r>
            <a:rPr lang="fr-FR" sz="1300" b="1" kern="1200" dirty="0" smtClean="0"/>
            <a:t>SARINE </a:t>
          </a:r>
          <a:r>
            <a:rPr lang="fr-FR" sz="1300" b="1" kern="1200" dirty="0"/>
            <a:t>NORD</a:t>
          </a:r>
        </a:p>
      </dsp:txBody>
      <dsp:txXfrm>
        <a:off x="363136" y="625546"/>
        <a:ext cx="1261798" cy="513555"/>
      </dsp:txXfrm>
    </dsp:sp>
    <dsp:sp modelId="{93F3056D-185C-4DBC-A070-D58CB93AAAFF}">
      <dsp:nvSpPr>
        <dsp:cNvPr id="0" name=""/>
        <dsp:cNvSpPr/>
      </dsp:nvSpPr>
      <dsp:spPr>
        <a:xfrm rot="5400000">
          <a:off x="3911081" y="-1006112"/>
          <a:ext cx="455295" cy="4972025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Zones = Marly, </a:t>
          </a:r>
          <a:r>
            <a:rPr lang="fr-FR" sz="900" kern="1200" dirty="0" err="1"/>
            <a:t>Villarsel</a:t>
          </a:r>
          <a:r>
            <a:rPr lang="fr-FR" sz="900" kern="1200" dirty="0"/>
            <a:t>-sur-Marly, Pierrafortscha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Caserne louée = Marly </a:t>
          </a:r>
          <a:r>
            <a:rPr lang="fr-FR" sz="900" b="1" kern="1200" dirty="0">
              <a:solidFill>
                <a:srgbClr val="00497C"/>
              </a:solidFill>
              <a:sym typeface="Wingdings" panose="05000000000000000000" pitchFamily="2" charset="2"/>
            </a:rPr>
            <a:t> Etude : Construction nouvelle caserne Marly</a:t>
          </a:r>
          <a:endParaRPr lang="fr-FR" sz="900" kern="1200" dirty="0">
            <a:solidFill>
              <a:srgbClr val="00497C"/>
            </a:solidFill>
          </a:endParaRPr>
        </a:p>
      </dsp:txBody>
      <dsp:txXfrm rot="-5400000">
        <a:off x="1652716" y="1274479"/>
        <a:ext cx="4949799" cy="410843"/>
      </dsp:txXfrm>
    </dsp:sp>
    <dsp:sp modelId="{24297250-792E-40E4-8A36-1BB4B66BB049}">
      <dsp:nvSpPr>
        <dsp:cNvPr id="0" name=""/>
        <dsp:cNvSpPr/>
      </dsp:nvSpPr>
      <dsp:spPr>
        <a:xfrm>
          <a:off x="335354" y="1195340"/>
          <a:ext cx="1317362" cy="569119"/>
        </a:xfrm>
        <a:prstGeom prst="roundRect">
          <a:avLst/>
        </a:prstGeom>
        <a:solidFill>
          <a:schemeClr val="accent3">
            <a:shade val="80000"/>
            <a:hueOff val="58339"/>
            <a:satOff val="-1891"/>
            <a:lumOff val="73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err="1"/>
            <a:t>cp</a:t>
          </a:r>
          <a:r>
            <a:rPr lang="fr-FR" sz="1300" b="1" kern="1200" dirty="0"/>
            <a:t> </a:t>
          </a:r>
          <a:r>
            <a:rPr lang="fr-FR" sz="1300" b="1" kern="1200" dirty="0" smtClean="0"/>
            <a:t>MARLY </a:t>
          </a:r>
          <a:endParaRPr lang="fr-FR" sz="1300" b="1" kern="1200" dirty="0"/>
        </a:p>
      </dsp:txBody>
      <dsp:txXfrm>
        <a:off x="363136" y="1223122"/>
        <a:ext cx="1261798" cy="513555"/>
      </dsp:txXfrm>
    </dsp:sp>
    <dsp:sp modelId="{2E555489-EDA6-4F34-BD2F-9E329EFC2F08}">
      <dsp:nvSpPr>
        <dsp:cNvPr id="0" name=""/>
        <dsp:cNvSpPr/>
      </dsp:nvSpPr>
      <dsp:spPr>
        <a:xfrm rot="5400000">
          <a:off x="3911081" y="-408536"/>
          <a:ext cx="455295" cy="4972025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Zones = Le Mouret, </a:t>
          </a:r>
          <a:r>
            <a:rPr lang="fr-FR" sz="900" kern="1200" dirty="0" err="1"/>
            <a:t>Ferpicloz</a:t>
          </a:r>
          <a:r>
            <a:rPr lang="fr-FR" sz="900" kern="1200" dirty="0"/>
            <a:t>, Bois d'Amont, </a:t>
          </a:r>
          <a:r>
            <a:rPr lang="fr-FR" sz="900" kern="1200" dirty="0" err="1"/>
            <a:t>Treyvaux</a:t>
          </a:r>
          <a:endParaRPr lang="fr-FR" sz="900" b="1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Casernes louées = Le Mouret + </a:t>
          </a:r>
          <a:r>
            <a:rPr lang="fr-FR" sz="900" kern="1200" dirty="0" err="1"/>
            <a:t>Treyvaux</a:t>
          </a:r>
          <a:r>
            <a:rPr lang="fr-FR" sz="900" kern="1200" dirty="0"/>
            <a:t> </a:t>
          </a:r>
          <a:r>
            <a:rPr lang="fr-FR" sz="900" b="1" kern="1200" dirty="0">
              <a:solidFill>
                <a:srgbClr val="00497C"/>
              </a:solidFill>
              <a:sym typeface="Wingdings" panose="05000000000000000000" pitchFamily="2" charset="2"/>
            </a:rPr>
            <a:t> Etude : Construction 1 caserne pour la zone</a:t>
          </a:r>
          <a:endParaRPr lang="fr-FR" sz="900" kern="1200" dirty="0">
            <a:solidFill>
              <a:srgbClr val="00497C"/>
            </a:solidFill>
          </a:endParaRPr>
        </a:p>
      </dsp:txBody>
      <dsp:txXfrm rot="-5400000">
        <a:off x="1652716" y="1872055"/>
        <a:ext cx="4949799" cy="410843"/>
      </dsp:txXfrm>
    </dsp:sp>
    <dsp:sp modelId="{3A0C5B24-D270-4D19-AFD4-2BFA88FE90C6}">
      <dsp:nvSpPr>
        <dsp:cNvPr id="0" name=""/>
        <dsp:cNvSpPr/>
      </dsp:nvSpPr>
      <dsp:spPr>
        <a:xfrm>
          <a:off x="335354" y="1792916"/>
          <a:ext cx="1317362" cy="569119"/>
        </a:xfrm>
        <a:prstGeom prst="roundRect">
          <a:avLst/>
        </a:prstGeom>
        <a:solidFill>
          <a:schemeClr val="accent3">
            <a:shade val="80000"/>
            <a:hueOff val="87508"/>
            <a:satOff val="-2837"/>
            <a:lumOff val="110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err="1"/>
            <a:t>cp</a:t>
          </a:r>
          <a:r>
            <a:rPr lang="fr-FR" sz="1300" b="1" kern="1200" dirty="0"/>
            <a:t> </a:t>
          </a:r>
          <a:r>
            <a:rPr lang="fr-FR" sz="1300" b="1" kern="1200" dirty="0" smtClean="0"/>
            <a:t>HAUTE SARINE</a:t>
          </a:r>
          <a:endParaRPr lang="fr-FR" sz="1300" b="1" kern="1200" dirty="0"/>
        </a:p>
      </dsp:txBody>
      <dsp:txXfrm>
        <a:off x="363136" y="1820698"/>
        <a:ext cx="1261798" cy="513555"/>
      </dsp:txXfrm>
    </dsp:sp>
    <dsp:sp modelId="{31CC49FE-3EB5-4F6C-86AC-7D6753766BE2}">
      <dsp:nvSpPr>
        <dsp:cNvPr id="0" name=""/>
        <dsp:cNvSpPr/>
      </dsp:nvSpPr>
      <dsp:spPr>
        <a:xfrm rot="5400000">
          <a:off x="3911081" y="189039"/>
          <a:ext cx="455295" cy="4972025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Zones = Villars-sur-Glâne, </a:t>
          </a:r>
          <a:r>
            <a:rPr lang="fr-FR" sz="900" kern="1200" dirty="0" err="1"/>
            <a:t>Corminboeuf</a:t>
          </a:r>
          <a:endParaRPr lang="fr-FR" sz="900" b="1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Casernes louées = Villars-sur-Glâne (+ </a:t>
          </a:r>
          <a:r>
            <a:rPr lang="fr-FR" sz="900" kern="1200" dirty="0" err="1"/>
            <a:t>Corminboeuf</a:t>
          </a:r>
          <a:r>
            <a:rPr lang="fr-FR" sz="900" kern="1200" dirty="0"/>
            <a:t>, à confirmer et limité dans le temps)</a:t>
          </a:r>
          <a:endParaRPr lang="fr-FR" sz="900" kern="1200" dirty="0">
            <a:solidFill>
              <a:srgbClr val="00497C"/>
            </a:solidFill>
          </a:endParaRPr>
        </a:p>
      </dsp:txBody>
      <dsp:txXfrm rot="-5400000">
        <a:off x="1652716" y="2469630"/>
        <a:ext cx="4949799" cy="410843"/>
      </dsp:txXfrm>
    </dsp:sp>
    <dsp:sp modelId="{08C38572-7F46-44F6-A1CC-0C98EB97F376}">
      <dsp:nvSpPr>
        <dsp:cNvPr id="0" name=""/>
        <dsp:cNvSpPr/>
      </dsp:nvSpPr>
      <dsp:spPr>
        <a:xfrm>
          <a:off x="335354" y="2390491"/>
          <a:ext cx="1317362" cy="569119"/>
        </a:xfrm>
        <a:prstGeom prst="roundRect">
          <a:avLst/>
        </a:prstGeom>
        <a:solidFill>
          <a:schemeClr val="accent3">
            <a:shade val="80000"/>
            <a:hueOff val="116678"/>
            <a:satOff val="-3783"/>
            <a:lumOff val="147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err="1"/>
            <a:t>cp</a:t>
          </a:r>
          <a:r>
            <a:rPr lang="fr-FR" sz="1300" b="1" kern="1200" dirty="0"/>
            <a:t> </a:t>
          </a:r>
          <a:r>
            <a:rPr lang="fr-FR" sz="1300" b="1" kern="1200" dirty="0" smtClean="0"/>
            <a:t>MONCOR</a:t>
          </a:r>
          <a:endParaRPr lang="fr-FR" sz="1300" b="1" kern="1200" dirty="0"/>
        </a:p>
      </dsp:txBody>
      <dsp:txXfrm>
        <a:off x="363136" y="2418273"/>
        <a:ext cx="1261798" cy="513555"/>
      </dsp:txXfrm>
    </dsp:sp>
    <dsp:sp modelId="{63F59CCF-98FF-4712-AE23-C3771A1CC8AA}">
      <dsp:nvSpPr>
        <dsp:cNvPr id="0" name=""/>
        <dsp:cNvSpPr/>
      </dsp:nvSpPr>
      <dsp:spPr>
        <a:xfrm rot="5400000">
          <a:off x="3911081" y="786615"/>
          <a:ext cx="455295" cy="4972025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Zones = </a:t>
          </a:r>
          <a:r>
            <a:rPr lang="fr-FR" sz="900" kern="1200" dirty="0" err="1"/>
            <a:t>Matran</a:t>
          </a:r>
          <a:r>
            <a:rPr lang="fr-FR" sz="900" kern="1200" dirty="0"/>
            <a:t>, </a:t>
          </a:r>
          <a:r>
            <a:rPr lang="fr-FR" sz="900" kern="1200" dirty="0" err="1"/>
            <a:t>Avry</a:t>
          </a:r>
          <a:r>
            <a:rPr lang="fr-FR" sz="900" kern="1200" dirty="0"/>
            <a:t>, Neyruz, Prez (sans </a:t>
          </a:r>
          <a:r>
            <a:rPr lang="fr-FR" sz="900" kern="1200" dirty="0" err="1"/>
            <a:t>Corserey</a:t>
          </a:r>
          <a:r>
            <a:rPr lang="fr-FR" sz="900" kern="1200" dirty="0"/>
            <a:t>, à confirmer avec l'ECAB)</a:t>
          </a:r>
          <a:endParaRPr lang="fr-FR" sz="900" b="1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Casernes louées = </a:t>
          </a:r>
          <a:r>
            <a:rPr lang="fr-FR" sz="900" kern="1200" dirty="0" err="1"/>
            <a:t>Avry</a:t>
          </a:r>
          <a:r>
            <a:rPr lang="fr-FR" sz="900" kern="1200" dirty="0"/>
            <a:t> + Prez </a:t>
          </a:r>
          <a:r>
            <a:rPr lang="fr-FR" sz="900" b="1" kern="1200" dirty="0">
              <a:solidFill>
                <a:srgbClr val="00497C"/>
              </a:solidFill>
              <a:sym typeface="Wingdings" panose="05000000000000000000" pitchFamily="2" charset="2"/>
            </a:rPr>
            <a:t> Etude : Construction 1 caserne pour la zone</a:t>
          </a:r>
          <a:endParaRPr lang="fr-FR" sz="900" kern="1200" dirty="0">
            <a:solidFill>
              <a:srgbClr val="00497C"/>
            </a:solidFill>
          </a:endParaRPr>
        </a:p>
      </dsp:txBody>
      <dsp:txXfrm rot="-5400000">
        <a:off x="1652716" y="3067206"/>
        <a:ext cx="4949799" cy="410843"/>
      </dsp:txXfrm>
    </dsp:sp>
    <dsp:sp modelId="{D426438B-28F1-4F2D-A50D-948324D3A876}">
      <dsp:nvSpPr>
        <dsp:cNvPr id="0" name=""/>
        <dsp:cNvSpPr/>
      </dsp:nvSpPr>
      <dsp:spPr>
        <a:xfrm>
          <a:off x="335354" y="2988067"/>
          <a:ext cx="1317362" cy="569119"/>
        </a:xfrm>
        <a:prstGeom prst="roundRect">
          <a:avLst/>
        </a:prstGeom>
        <a:solidFill>
          <a:schemeClr val="accent3">
            <a:shade val="80000"/>
            <a:hueOff val="145847"/>
            <a:satOff val="-4729"/>
            <a:lumOff val="1844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err="1"/>
            <a:t>cp</a:t>
          </a:r>
          <a:r>
            <a:rPr lang="fr-FR" sz="1300" b="1" kern="1200" dirty="0"/>
            <a:t> </a:t>
          </a:r>
          <a:r>
            <a:rPr lang="fr-FR" sz="1300" b="1" kern="1200" dirty="0" smtClean="0"/>
            <a:t>SARINE CAMPAGNE</a:t>
          </a:r>
          <a:endParaRPr lang="fr-FR" sz="1300" b="1" kern="1200" dirty="0"/>
        </a:p>
      </dsp:txBody>
      <dsp:txXfrm>
        <a:off x="363136" y="3015849"/>
        <a:ext cx="1261798" cy="513555"/>
      </dsp:txXfrm>
    </dsp:sp>
    <dsp:sp modelId="{01326263-A2A7-4426-8FCA-D991D774FE79}">
      <dsp:nvSpPr>
        <dsp:cNvPr id="0" name=""/>
        <dsp:cNvSpPr/>
      </dsp:nvSpPr>
      <dsp:spPr>
        <a:xfrm rot="5400000">
          <a:off x="3911081" y="1384190"/>
          <a:ext cx="455295" cy="4972025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Zones = Hauterive, </a:t>
          </a:r>
          <a:r>
            <a:rPr lang="fr-FR" sz="900" kern="1200" dirty="0" err="1"/>
            <a:t>Gibloux</a:t>
          </a:r>
          <a:endParaRPr lang="fr-FR" sz="900" b="1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Casernes louées = Hauterive + </a:t>
          </a:r>
          <a:r>
            <a:rPr lang="fr-FR" sz="900" kern="1200" dirty="0" err="1"/>
            <a:t>Gibloux</a:t>
          </a:r>
          <a:r>
            <a:rPr lang="fr-FR" sz="900" kern="1200" dirty="0"/>
            <a:t> </a:t>
          </a:r>
          <a:r>
            <a:rPr lang="fr-FR" sz="900" b="1" kern="1200" dirty="0">
              <a:solidFill>
                <a:srgbClr val="00497C"/>
              </a:solidFill>
              <a:sym typeface="Wingdings" panose="05000000000000000000" pitchFamily="2" charset="2"/>
            </a:rPr>
            <a:t> Etude : Construction 1 caserne pour la zone</a:t>
          </a:r>
          <a:endParaRPr lang="fr-FR" sz="900" kern="1200" dirty="0">
            <a:solidFill>
              <a:srgbClr val="00497C"/>
            </a:solidFill>
          </a:endParaRPr>
        </a:p>
      </dsp:txBody>
      <dsp:txXfrm rot="-5400000">
        <a:off x="1652716" y="3664781"/>
        <a:ext cx="4949799" cy="410843"/>
      </dsp:txXfrm>
    </dsp:sp>
    <dsp:sp modelId="{A2F33C99-1094-4E38-AC33-46A09BD659BA}">
      <dsp:nvSpPr>
        <dsp:cNvPr id="0" name=""/>
        <dsp:cNvSpPr/>
      </dsp:nvSpPr>
      <dsp:spPr>
        <a:xfrm>
          <a:off x="335354" y="3585643"/>
          <a:ext cx="1317362" cy="569119"/>
        </a:xfrm>
        <a:prstGeom prst="roundRect">
          <a:avLst/>
        </a:prstGeom>
        <a:solidFill>
          <a:schemeClr val="accent3">
            <a:shade val="80000"/>
            <a:hueOff val="175017"/>
            <a:satOff val="-5674"/>
            <a:lumOff val="2213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err="1"/>
            <a:t>cp</a:t>
          </a:r>
          <a:r>
            <a:rPr lang="fr-FR" sz="1300" b="1" kern="1200" dirty="0"/>
            <a:t> </a:t>
          </a:r>
          <a:r>
            <a:rPr lang="fr-FR" sz="1300" b="1" kern="1200" dirty="0" smtClean="0"/>
            <a:t>GIBLOUX</a:t>
          </a:r>
          <a:endParaRPr lang="fr-FR" sz="1300" b="1" kern="1200" dirty="0"/>
        </a:p>
      </dsp:txBody>
      <dsp:txXfrm>
        <a:off x="363136" y="3613425"/>
        <a:ext cx="1261798" cy="513555"/>
      </dsp:txXfrm>
    </dsp:sp>
    <dsp:sp modelId="{9BEB0A0D-4892-4F0E-8F50-0E71D70F5A79}">
      <dsp:nvSpPr>
        <dsp:cNvPr id="0" name=""/>
        <dsp:cNvSpPr/>
      </dsp:nvSpPr>
      <dsp:spPr>
        <a:xfrm rot="5400000">
          <a:off x="3911081" y="1981766"/>
          <a:ext cx="455295" cy="4972025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Zones = </a:t>
          </a:r>
          <a:r>
            <a:rPr lang="fr-FR" sz="900" kern="1200" dirty="0" err="1"/>
            <a:t>Autigny</a:t>
          </a:r>
          <a:r>
            <a:rPr lang="fr-FR" sz="900" kern="1200" dirty="0"/>
            <a:t>, </a:t>
          </a:r>
          <a:r>
            <a:rPr lang="fr-FR" sz="900" kern="1200" dirty="0" err="1"/>
            <a:t>Chénens</a:t>
          </a:r>
          <a:r>
            <a:rPr lang="fr-FR" sz="900" kern="1200" dirty="0"/>
            <a:t>, </a:t>
          </a:r>
          <a:r>
            <a:rPr lang="fr-FR" sz="900" kern="1200" dirty="0" err="1"/>
            <a:t>Cottens</a:t>
          </a:r>
          <a:r>
            <a:rPr lang="fr-FR" sz="900" kern="1200" dirty="0"/>
            <a:t>, La </a:t>
          </a:r>
          <a:r>
            <a:rPr lang="fr-FR" sz="900" kern="1200" dirty="0" err="1"/>
            <a:t>Brillaz</a:t>
          </a:r>
          <a:r>
            <a:rPr lang="fr-FR" sz="900" kern="1200" dirty="0"/>
            <a:t>, </a:t>
          </a:r>
          <a:r>
            <a:rPr lang="fr-FR" sz="900" kern="1200" dirty="0" err="1"/>
            <a:t>Corserey</a:t>
          </a:r>
          <a:r>
            <a:rPr lang="fr-FR" sz="900" kern="1200" dirty="0"/>
            <a:t> (ECAB) (+ </a:t>
          </a:r>
          <a:r>
            <a:rPr lang="fr-FR" sz="900" kern="1200" dirty="0" err="1"/>
            <a:t>Glâne</a:t>
          </a:r>
          <a:r>
            <a:rPr lang="fr-FR" sz="900" kern="1200" dirty="0"/>
            <a:t> Nord en P1 et P2)</a:t>
          </a:r>
          <a:endParaRPr lang="fr-FR" sz="900" b="1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900" kern="1200" dirty="0"/>
            <a:t>Casernes louée = </a:t>
          </a:r>
          <a:r>
            <a:rPr lang="fr-FR" sz="900" kern="1200" dirty="0" err="1"/>
            <a:t>Chénens</a:t>
          </a:r>
          <a:endParaRPr lang="fr-FR" sz="900" kern="1200" dirty="0">
            <a:solidFill>
              <a:srgbClr val="00497C"/>
            </a:solidFill>
          </a:endParaRPr>
        </a:p>
      </dsp:txBody>
      <dsp:txXfrm rot="-5400000">
        <a:off x="1652716" y="4262357"/>
        <a:ext cx="4949799" cy="410843"/>
      </dsp:txXfrm>
    </dsp:sp>
    <dsp:sp modelId="{D37CD04A-2A3D-472D-99B6-D1FAF90477B4}">
      <dsp:nvSpPr>
        <dsp:cNvPr id="0" name=""/>
        <dsp:cNvSpPr/>
      </dsp:nvSpPr>
      <dsp:spPr>
        <a:xfrm>
          <a:off x="335354" y="4183219"/>
          <a:ext cx="1317362" cy="569119"/>
        </a:xfrm>
        <a:prstGeom prst="roundRect">
          <a:avLst/>
        </a:prstGeom>
        <a:solidFill>
          <a:schemeClr val="accent3">
            <a:shade val="80000"/>
            <a:hueOff val="204186"/>
            <a:satOff val="-6620"/>
            <a:lumOff val="2582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b="1" kern="1200" dirty="0" err="1"/>
            <a:t>cp</a:t>
          </a:r>
          <a:r>
            <a:rPr lang="fr-FR" sz="1300" b="1" kern="1200" dirty="0"/>
            <a:t> </a:t>
          </a:r>
          <a:r>
            <a:rPr lang="fr-FR" sz="1300" b="1" kern="1200" dirty="0" smtClean="0"/>
            <a:t>SARINE </a:t>
          </a:r>
          <a:r>
            <a:rPr lang="fr-FR" sz="1300" b="1" kern="1200" dirty="0"/>
            <a:t>OUEST</a:t>
          </a:r>
        </a:p>
      </dsp:txBody>
      <dsp:txXfrm>
        <a:off x="363136" y="4211001"/>
        <a:ext cx="1261798" cy="5135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45659" cy="49641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r>
              <a:rPr lang="fr-CH" dirty="0"/>
              <a:t>Etat de Fribourg</a:t>
            </a:r>
            <a:br>
              <a:rPr lang="fr-CH" dirty="0"/>
            </a:br>
            <a:r>
              <a:rPr lang="fr-CH" dirty="0"/>
              <a:t>SPPAM / </a:t>
            </a:r>
            <a:r>
              <a:rPr lang="fr-CH" dirty="0" err="1"/>
              <a:t>PCi</a:t>
            </a:r>
            <a:endParaRPr lang="fr-CH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8" y="1"/>
            <a:ext cx="2945659" cy="49641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69D398AC-904E-4BF1-BD83-9DE3023E8170}" type="datetimeFigureOut">
              <a:rPr lang="fr-CH" smtClean="0"/>
              <a:t>18.08.2022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5" y="9430093"/>
            <a:ext cx="2945659" cy="49641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8" y="9430093"/>
            <a:ext cx="2945659" cy="49641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F20854EF-7642-45B1-927F-6015BD7D1BD9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0887484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45659" cy="496412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r>
              <a:rPr lang="fr-CH" dirty="0"/>
              <a:t>Etat de Fribourg</a:t>
            </a:r>
            <a:br>
              <a:rPr lang="fr-CH" dirty="0"/>
            </a:br>
            <a:r>
              <a:rPr lang="fr-CH" dirty="0"/>
              <a:t>SPPAM / </a:t>
            </a:r>
            <a:r>
              <a:rPr lang="fr-CH" dirty="0" err="1"/>
              <a:t>PCi</a:t>
            </a:r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8" y="1"/>
            <a:ext cx="2945659" cy="496412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18.08.2022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10"/>
            <a:ext cx="5438140" cy="4467701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endParaRPr lang="fr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5" y="9430093"/>
            <a:ext cx="2945659" cy="496412"/>
          </a:xfrm>
          <a:prstGeom prst="rect">
            <a:avLst/>
          </a:prstGeom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8" y="9430093"/>
            <a:ext cx="2945659" cy="496412"/>
          </a:xfrm>
          <a:prstGeom prst="rect">
            <a:avLst/>
          </a:prstGeom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2139698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>
            <a:normAutofit/>
          </a:bodyPr>
          <a:lstStyle/>
          <a:p>
            <a:pPr eaLnBrk="1" hangingPunct="1">
              <a:spcBef>
                <a:spcPct val="0"/>
              </a:spcBef>
            </a:pPr>
            <a:endParaRPr lang="fr-CH" dirty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216954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658293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476286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64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2" Type="http://schemas.openxmlformats.org/officeDocument/2006/relationships/tags" Target="../tags/tag7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5" Type="http://schemas.openxmlformats.org/officeDocument/2006/relationships/tags" Target="../tags/tag81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6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15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04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0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2.xml"/><Relationship Id="rId9" Type="http://schemas.openxmlformats.org/officeDocument/2006/relationships/tags" Target="../tags/tag10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4" Type="http://schemas.openxmlformats.org/officeDocument/2006/relationships/tags" Target="../tags/tag110.xml"/><Relationship Id="rId9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5" Type="http://schemas.openxmlformats.org/officeDocument/2006/relationships/tags" Target="../tags/tag117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3" Type="http://schemas.openxmlformats.org/officeDocument/2006/relationships/tags" Target="../tags/tag33.xml"/><Relationship Id="rId21" Type="http://schemas.openxmlformats.org/officeDocument/2006/relationships/tags" Target="../tags/tag51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oleObject" Target="../embeddings/oleObject9.bin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oleObject" Target="../embeddings/oleObject10.bin"/><Relationship Id="rId2" Type="http://schemas.openxmlformats.org/officeDocument/2006/relationships/tags" Target="../tags/tag54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07493" y="1548005"/>
            <a:ext cx="11053233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solidFill>
                  <a:srgbClr val="12466B"/>
                </a:solidFill>
                <a:latin typeface="Arial" charset="0"/>
              </a:defRPr>
            </a:lvl1pPr>
          </a:lstStyle>
          <a:p>
            <a:r>
              <a:rPr lang="fr-CH" dirty="0"/>
              <a:t>Cliquer pour insérer un tit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607493" y="3564005"/>
            <a:ext cx="11053233" cy="277127"/>
          </a:xfrm>
        </p:spPr>
        <p:txBody>
          <a:bodyPr>
            <a:spAutoFit/>
          </a:bodyPr>
          <a:lstStyle>
            <a:lvl1pPr>
              <a:defRPr sz="1801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sp>
        <p:nvSpPr>
          <p:cNvPr id="9" name="TextBox 8"/>
          <p:cNvSpPr txBox="1"/>
          <p:nvPr userDrawn="1">
            <p:custDataLst>
              <p:tags r:id="rId4"/>
            </p:custDataLst>
          </p:nvPr>
        </p:nvSpPr>
        <p:spPr>
          <a:xfrm>
            <a:off x="4706483" y="699536"/>
            <a:ext cx="6885517" cy="1795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ts val="1351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2000" b="1" dirty="0">
                <a:solidFill>
                  <a:srgbClr val="12466B"/>
                </a:solidFill>
                <a:latin typeface="Trebuchet MS" panose="020B0603020202020204" pitchFamily="34" charset="0"/>
              </a:rPr>
              <a:t>DIRECTION</a:t>
            </a:r>
            <a:r>
              <a:rPr lang="fr-CH" sz="2000" b="1" baseline="0" dirty="0">
                <a:solidFill>
                  <a:srgbClr val="12466B"/>
                </a:solidFill>
                <a:latin typeface="Trebuchet MS" panose="020B0603020202020204" pitchFamily="34" charset="0"/>
              </a:rPr>
              <a:t> SECOURS</a:t>
            </a:r>
            <a:endParaRPr lang="fr-CH" sz="2000" b="0" i="0" dirty="0">
              <a:solidFill>
                <a:srgbClr val="12466B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600000" y="6314406"/>
            <a:ext cx="7139517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200" b="0" i="0" dirty="0">
                <a:solidFill>
                  <a:srgbClr val="12466B"/>
                </a:solidFill>
              </a:rPr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200" dirty="0">
                <a:solidFill>
                  <a:srgbClr val="12466B"/>
                </a:solidFill>
                <a:effectLst/>
                <a:latin typeface="Trebuchet MS" panose="020B0603020202020204" pitchFamily="34" charset="0"/>
                <a:ea typeface="Arial" panose="020B0604020202020204" pitchFamily="34" charset="0"/>
              </a:rPr>
              <a:t>RÉSEAU SANTÉ DE LA SARINE </a:t>
            </a:r>
            <a:r>
              <a:rPr lang="fr-CH" sz="1200" b="1" i="0" baseline="0" dirty="0">
                <a:solidFill>
                  <a:srgbClr val="12466B"/>
                </a:solidFill>
                <a:latin typeface="Trebuchet MS" panose="020B0603020202020204" pitchFamily="34" charset="0"/>
              </a:rPr>
              <a:t>RSS</a:t>
            </a:r>
            <a:endParaRPr lang="fr-CH" sz="1200" b="1" dirty="0">
              <a:solidFill>
                <a:srgbClr val="12466B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Image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001" y="192165"/>
            <a:ext cx="1679576" cy="9962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09607" y="1766400"/>
            <a:ext cx="10989735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8"/>
            <a:ext cx="10989733" cy="948978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6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6007"/>
            <a:ext cx="10989733" cy="474489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609600" y="1371600"/>
            <a:ext cx="5376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6223333" y="1371600"/>
            <a:ext cx="5376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8"/>
            <a:ext cx="10989733" cy="948978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407920"/>
            <a:ext cx="10989733" cy="3757384"/>
          </a:xfrm>
        </p:spPr>
        <p:txBody>
          <a:bodyPr wrap="square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6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0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8"/>
            <a:ext cx="10989733" cy="948978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64301" y="2373250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64301" y="3113581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709581" y="2373250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709581" y="3113584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484936" y="2373250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484936" y="3113584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6260291" y="2373250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6260291" y="3113584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8035644" y="2373250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8035644" y="3113584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9810997" y="2373250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9810997" y="3113584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609600" y="1327206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4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50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10" y="3113582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076315" y="2373250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3076315" y="3113584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5239092" y="2373250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5239092" y="3113584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305869" y="2373250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7305869" y="3113584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9468648" y="2373250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9468648" y="3113584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609600" y="304808"/>
            <a:ext cx="10989733" cy="94897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609600" y="1327206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81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3577600" y="3113584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6245659" y="3113584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913717" y="3113584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64301" y="2373250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577600" y="2373250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6245659" y="2373250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8913717" y="2373250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8"/>
            <a:ext cx="10989733" cy="94897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6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2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50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8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4511172" y="2373250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4511172" y="3113584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8062939" y="2373250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8062939" y="3113584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609600" y="304808"/>
            <a:ext cx="10989733" cy="94897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09600" y="1327206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50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87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6286504" y="2373250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286504" y="3113584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304808"/>
            <a:ext cx="10989733" cy="94897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09600" y="1327206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0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2126408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609607" y="2492381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953936" y="2126408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953936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228168" y="2126408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6498168" y="2126408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776636" y="2126408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048752" y="2126408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10327216" y="2126408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8"/>
            <a:ext cx="10989733" cy="94897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6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8"/>
            <a:ext cx="10989733" cy="948978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9600" y="1327200"/>
            <a:ext cx="10989733" cy="4838104"/>
          </a:xfrm>
        </p:spPr>
        <p:txBody>
          <a:bodyPr/>
          <a:lstStyle>
            <a:lvl1pPr marL="358750" indent="-358750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50" lvl="0" indent="-358750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Cliquez pour modifier les styles du texte du masque</a:t>
            </a:r>
          </a:p>
          <a:p>
            <a:pPr marL="358750" lvl="1" indent="-358750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Deuxième niveau</a:t>
            </a:r>
          </a:p>
          <a:p>
            <a:pPr marL="358750" lvl="2" indent="-358750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Troisième niveau</a:t>
            </a:r>
          </a:p>
          <a:p>
            <a:pPr marL="358750" lvl="3" indent="-358750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dirty="0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8"/>
            <a:ext cx="10989733" cy="948978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767144"/>
            <a:ext cx="10989733" cy="4398163"/>
          </a:xfrm>
        </p:spPr>
        <p:txBody>
          <a:bodyPr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806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5"/>
            <a:ext cx="10989733" cy="1423467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266800"/>
            <a:ext cx="10989733" cy="3898504"/>
          </a:xfrm>
        </p:spPr>
        <p:txBody>
          <a:bodyPr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6"/>
            <a:ext cx="10989733" cy="94897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756407" y="1858226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1" b="1"/>
            </a:lvl2pPr>
            <a:lvl3pPr>
              <a:defRPr sz="1801" b="1"/>
            </a:lvl3pPr>
            <a:lvl4pPr>
              <a:defRPr sz="1801" b="1"/>
            </a:lvl4pPr>
            <a:lvl5pPr>
              <a:defRPr sz="1801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609600" y="1327206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09600" y="1858226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09600" y="2221364"/>
            <a:ext cx="4843200" cy="3943940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6756407" y="2221364"/>
            <a:ext cx="4842935" cy="3943940"/>
          </a:xfrm>
        </p:spPr>
        <p:txBody>
          <a:bodyPr wrap="square">
            <a:normAutofit/>
          </a:bodyPr>
          <a:lstStyle>
            <a:lvl1pPr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6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r>
              <a:rPr lang="fr-CH" dirty="0"/>
              <a:t/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609600" y="1328406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609600" y="2297400"/>
            <a:ext cx="4907280" cy="386790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639984" y="2297400"/>
            <a:ext cx="4907280" cy="3867904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1" y="304806"/>
            <a:ext cx="10989731" cy="948978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609600" y="1860002"/>
            <a:ext cx="2133600" cy="307777"/>
          </a:xfrm>
        </p:spPr>
        <p:txBody>
          <a:bodyPr/>
          <a:lstStyle>
            <a:lvl1pPr>
              <a:spcAft>
                <a:spcPts val="601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24717" y="1860002"/>
            <a:ext cx="2136000" cy="307777"/>
          </a:xfrm>
        </p:spPr>
        <p:txBody>
          <a:bodyPr/>
          <a:lstStyle>
            <a:lvl1pPr>
              <a:spcAft>
                <a:spcPts val="601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41958" y="1860002"/>
            <a:ext cx="3729567" cy="307777"/>
          </a:xfrm>
        </p:spPr>
        <p:txBody>
          <a:bodyPr/>
          <a:lstStyle>
            <a:lvl1pPr>
              <a:spcAft>
                <a:spcPts val="601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9429758" y="1860002"/>
            <a:ext cx="2169583" cy="307777"/>
          </a:xfrm>
        </p:spPr>
        <p:txBody>
          <a:bodyPr/>
          <a:lstStyle>
            <a:lvl1pPr>
              <a:spcAft>
                <a:spcPts val="601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668874" y="2373323"/>
            <a:ext cx="2135487" cy="1231106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5441958" y="2373336"/>
            <a:ext cx="3729567" cy="615553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1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5441958" y="3093336"/>
            <a:ext cx="3729567" cy="615553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1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5441958" y="3813323"/>
            <a:ext cx="3729567" cy="615553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1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668874" y="4533323"/>
            <a:ext cx="2135487" cy="1231106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5441958" y="4533336"/>
            <a:ext cx="3729567" cy="615553"/>
          </a:xfrm>
        </p:spPr>
        <p:txBody>
          <a:bodyPr/>
          <a:lstStyle>
            <a:lvl1pPr>
              <a:spcAft>
                <a:spcPts val="601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609599" y="1327206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1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00801" y="1327213"/>
            <a:ext cx="5200651" cy="615553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8"/>
            <a:ext cx="10989733" cy="948978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609600" y="1766400"/>
            <a:ext cx="5581651" cy="4398904"/>
          </a:xfrm>
        </p:spPr>
        <p:txBody>
          <a:bodyPr wrap="square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09600" y="1327206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3119672" y="1491966"/>
            <a:ext cx="6115205" cy="4586404"/>
          </a:xfrm>
          <a:prstGeom prst="rect">
            <a:avLst/>
          </a:prstGeom>
        </p:spPr>
      </p:pic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" name="think-cell Slide" r:id="rId27" imgW="0" imgH="0" progId="">
                  <p:embed/>
                </p:oleObj>
              </mc:Choice>
              <mc:Fallback>
                <p:oleObj name="think-cell Slide" r:id="rId27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609600" y="306006"/>
            <a:ext cx="10989733" cy="948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609600" y="1371600"/>
            <a:ext cx="10989733" cy="482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1074400" y="6495886"/>
            <a:ext cx="535517" cy="154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1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001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1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001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2347353" y="6312371"/>
            <a:ext cx="7497299" cy="4360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1351"/>
              </a:lnSpc>
              <a:spcAft>
                <a:spcPts val="600"/>
              </a:spcAft>
              <a:buClr>
                <a:srgbClr val="074EA1"/>
              </a:buClr>
            </a:pPr>
            <a:r>
              <a:rPr lang="fr-FR" sz="1200" b="0" baseline="0" dirty="0" smtClean="0">
                <a:solidFill>
                  <a:srgbClr val="12466B"/>
                </a:solidFill>
                <a:latin typeface="Trebuchet MS" panose="020B0603020202020204" pitchFamily="34" charset="0"/>
              </a:rPr>
              <a:t>Présentation du projet de réforme de la loi sur la défense incendie et des secours (LDIS)</a:t>
            </a:r>
          </a:p>
          <a:p>
            <a:pPr algn="ctr">
              <a:lnSpc>
                <a:spcPts val="1351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200" b="1" dirty="0" smtClean="0">
                <a:solidFill>
                  <a:srgbClr val="12466B"/>
                </a:solidFill>
                <a:latin typeface="Trebuchet MS" panose="020B0603020202020204" pitchFamily="34" charset="0"/>
              </a:rPr>
              <a:t>Réseau</a:t>
            </a:r>
            <a:r>
              <a:rPr lang="fr-CH" sz="1200" b="1" baseline="0" dirty="0" smtClean="0">
                <a:solidFill>
                  <a:srgbClr val="12466B"/>
                </a:solidFill>
                <a:latin typeface="Trebuchet MS" panose="020B0603020202020204" pitchFamily="34" charset="0"/>
              </a:rPr>
              <a:t> </a:t>
            </a:r>
            <a:r>
              <a:rPr lang="fr-CH" sz="1200" b="1" baseline="0" dirty="0">
                <a:solidFill>
                  <a:srgbClr val="12466B"/>
                </a:solidFill>
                <a:latin typeface="Trebuchet MS" panose="020B0603020202020204" pitchFamily="34" charset="0"/>
              </a:rPr>
              <a:t>Santé de la Sarine </a:t>
            </a:r>
            <a:r>
              <a:rPr lang="fr-CH" sz="1200" b="0" baseline="0" dirty="0">
                <a:solidFill>
                  <a:srgbClr val="12466B"/>
                </a:solidFill>
                <a:latin typeface="Trebuchet MS" panose="020B0603020202020204" pitchFamily="34" charset="0"/>
              </a:rPr>
              <a:t>RSS	</a:t>
            </a:r>
            <a:r>
              <a:rPr lang="fr-CH" sz="1200" b="1" baseline="0" dirty="0">
                <a:solidFill>
                  <a:srgbClr val="12466B"/>
                </a:solidFill>
                <a:latin typeface="Trebuchet MS" panose="020B0603020202020204" pitchFamily="34" charset="0"/>
              </a:rPr>
              <a:t>—	</a:t>
            </a:r>
            <a:r>
              <a:rPr lang="fr-CH" sz="1200" b="0" i="0" dirty="0">
                <a:solidFill>
                  <a:srgbClr val="12466B"/>
                </a:solidFill>
                <a:latin typeface="Trebuchet MS" panose="020B0603020202020204" pitchFamily="34" charset="0"/>
              </a:rPr>
              <a:t>Direction Secours</a:t>
            </a:r>
          </a:p>
        </p:txBody>
      </p:sp>
      <p:cxnSp>
        <p:nvCxnSpPr>
          <p:cNvPr id="14" name="Straight Connector 13"/>
          <p:cNvCxnSpPr/>
          <p:nvPr>
            <p:custDataLst>
              <p:tags r:id="rId25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Image 2"/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000" y="6305630"/>
            <a:ext cx="671464" cy="396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7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</p:sldLayoutIdLst>
  <p:hf sldNum="0" hdr="0" dt="0"/>
  <p:txStyles>
    <p:titleStyle>
      <a:lvl1pPr algn="l" defTabSz="457166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rgbClr val="12466B"/>
          </a:solidFill>
          <a:latin typeface="Trebuchet MS" panose="020B0603020202020204" pitchFamily="34" charset="0"/>
          <a:ea typeface="ＭＳ Ｐゴシック" pitchFamily="-112" charset="-128"/>
          <a:cs typeface="Trebuchet MS" panose="020B0603020202020204" pitchFamily="34" charset="0"/>
        </a:defRPr>
      </a:lvl1pPr>
      <a:lvl2pPr algn="l" defTabSz="457166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166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166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166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166" algn="l" defTabSz="457166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332" algn="l" defTabSz="457166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496" algn="l" defTabSz="457166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664" algn="l" defTabSz="457166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166" rtl="0" eaLnBrk="1" fontAlgn="base" hangingPunct="1">
        <a:spcBef>
          <a:spcPct val="0"/>
        </a:spcBef>
        <a:spcAft>
          <a:spcPts val="601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Trebuchet MS" panose="020B0603020202020204" pitchFamily="34" charset="0"/>
          <a:ea typeface="ＭＳ Ｐゴシック" pitchFamily="-112" charset="-128"/>
          <a:cs typeface="Trebuchet MS" panose="020B0603020202020204" pitchFamily="34" charset="0"/>
        </a:defRPr>
      </a:lvl1pPr>
      <a:lvl2pPr marL="273031" indent="-271443" algn="l" defTabSz="457166" rtl="0" eaLnBrk="1" fontAlgn="base" hangingPunct="1">
        <a:spcBef>
          <a:spcPct val="0"/>
        </a:spcBef>
        <a:spcAft>
          <a:spcPts val="601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Trebuchet MS" panose="020B0603020202020204" pitchFamily="34" charset="0"/>
          <a:ea typeface="ＭＳ Ｐゴシック" pitchFamily="-112" charset="-128"/>
          <a:cs typeface="+mn-cs"/>
        </a:defRPr>
      </a:lvl2pPr>
      <a:lvl3pPr marL="539711" indent="-265093" algn="l" defTabSz="457166" rtl="0" eaLnBrk="1" fontAlgn="base" hangingPunct="1">
        <a:spcBef>
          <a:spcPct val="0"/>
        </a:spcBef>
        <a:spcAft>
          <a:spcPts val="601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Trebuchet MS" panose="020B0603020202020204" pitchFamily="34" charset="0"/>
          <a:ea typeface="ＭＳ Ｐゴシック" pitchFamily="-112" charset="-128"/>
          <a:cs typeface="+mn-cs"/>
        </a:defRPr>
      </a:lvl3pPr>
      <a:lvl4pPr marL="803215" indent="-261920" algn="l" defTabSz="457166" rtl="0" eaLnBrk="1" fontAlgn="base" hangingPunct="1">
        <a:spcBef>
          <a:spcPct val="0"/>
        </a:spcBef>
        <a:spcAft>
          <a:spcPts val="601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Trebuchet MS" panose="020B0603020202020204" pitchFamily="34" charset="0"/>
          <a:ea typeface="ＭＳ Ｐゴシック" pitchFamily="-112" charset="-128"/>
          <a:cs typeface="+mn-cs"/>
        </a:defRPr>
      </a:lvl4pPr>
      <a:lvl5pPr marL="1076245" indent="-271443" algn="l" defTabSz="457166" rtl="0" eaLnBrk="1" fontAlgn="base" hangingPunct="1">
        <a:spcBef>
          <a:spcPct val="0"/>
        </a:spcBef>
        <a:spcAft>
          <a:spcPts val="601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Trebuchet MS" panose="020B0603020202020204" pitchFamily="34" charset="0"/>
          <a:ea typeface="ＭＳ Ｐゴシック" pitchFamily="-112" charset="-128"/>
          <a:cs typeface="+mn-cs"/>
        </a:defRPr>
      </a:lvl5pPr>
      <a:lvl6pPr marL="2514413" indent="-228584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45716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6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45716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45716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6" algn="l" defTabSz="45716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45716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45716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45716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45716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45716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6.xml"/><Relationship Id="rId7" Type="http://schemas.openxmlformats.org/officeDocument/2006/relationships/image" Target="../media/image3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13" Type="http://schemas.openxmlformats.org/officeDocument/2006/relationships/image" Target="../media/image39.png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12" Type="http://schemas.openxmlformats.org/officeDocument/2006/relationships/image" Target="../media/image38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Relationship Id="rId1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diagramLayout" Target="../diagrams/layout1.xml"/><Relationship Id="rId7" Type="http://schemas.openxmlformats.org/officeDocument/2006/relationships/image" Target="../media/image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1524011" y="12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11" y="12"/>
                        <a:ext cx="158751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1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623392" y="1700411"/>
            <a:ext cx="10945216" cy="1897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sz="4000" dirty="0" smtClean="0">
                <a:solidFill>
                  <a:srgbClr val="12466B"/>
                </a:solidFill>
              </a:rPr>
              <a:t>Présentation du projet de réforme de la loi sur la défense incendie et des secours (LDIS)</a:t>
            </a:r>
            <a:r>
              <a:rPr lang="fr-CH" sz="4000" b="0" dirty="0"/>
              <a:t/>
            </a:r>
            <a:br>
              <a:rPr lang="fr-CH" sz="4000" b="0" dirty="0"/>
            </a:br>
            <a:r>
              <a:rPr lang="fr-CH" sz="4000" dirty="0">
                <a:solidFill>
                  <a:srgbClr val="12466B"/>
                </a:solidFill>
              </a:rPr>
              <a:t>—</a:t>
            </a:r>
          </a:p>
        </p:txBody>
      </p:sp>
      <p:sp>
        <p:nvSpPr>
          <p:cNvPr id="11" name="Textplatzhalter 13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614178" y="3707715"/>
            <a:ext cx="7858085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1800" kern="12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2400" b="1" dirty="0" smtClean="0">
                <a:solidFill>
                  <a:srgbClr val="12466B"/>
                </a:solidFill>
              </a:rPr>
              <a:t>Informations destinées aux législatifs des communes membres du RSS, en vue des votations sur la modification des statuts</a:t>
            </a:r>
            <a:endParaRPr lang="fr-CH" sz="2400" b="1" dirty="0">
              <a:solidFill>
                <a:srgbClr val="12466B"/>
              </a:solidFill>
            </a:endParaRPr>
          </a:p>
        </p:txBody>
      </p:sp>
      <p:grpSp>
        <p:nvGrpSpPr>
          <p:cNvPr id="8" name="Groupe 7"/>
          <p:cNvGrpSpPr/>
          <p:nvPr/>
        </p:nvGrpSpPr>
        <p:grpSpPr>
          <a:xfrm>
            <a:off x="7398991" y="3630282"/>
            <a:ext cx="4178831" cy="3134123"/>
            <a:chOff x="4427988" y="3123869"/>
            <a:chExt cx="4178831" cy="3134123"/>
          </a:xfrm>
        </p:grpSpPr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427988" y="3123869"/>
              <a:ext cx="4178831" cy="3134123"/>
            </a:xfrm>
            <a:prstGeom prst="rect">
              <a:avLst/>
            </a:prstGeom>
          </p:spPr>
        </p:pic>
        <p:pic>
          <p:nvPicPr>
            <p:cNvPr id="10" name="Picture 14" descr="Icône de sapeur-pompier PNG transparents - Stick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3372067"/>
              <a:ext cx="936104" cy="1111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047677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1384" y="304803"/>
            <a:ext cx="9672122" cy="948980"/>
          </a:xfrm>
        </p:spPr>
        <p:txBody>
          <a:bodyPr/>
          <a:lstStyle/>
          <a:p>
            <a:r>
              <a:rPr lang="fr-CH" dirty="0"/>
              <a:t>Nouvelle organisation – Organigramme RSS 2023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pic>
        <p:nvPicPr>
          <p:cNvPr id="6" name="Picture 2" descr="contact centre naturoform naturopathie sophrologie| Centrenaturoform.f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9564" y="269159"/>
            <a:ext cx="739306" cy="73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3"/>
          <a:srcRect b="839"/>
          <a:stretch/>
        </p:blipFill>
        <p:spPr>
          <a:xfrm>
            <a:off x="1470127" y="1253783"/>
            <a:ext cx="7834635" cy="482748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7104112" y="3407343"/>
            <a:ext cx="2184267" cy="2673924"/>
          </a:xfrm>
          <a:prstGeom prst="rect">
            <a:avLst/>
          </a:prstGeom>
          <a:solidFill>
            <a:srgbClr val="FFFF00">
              <a:alpha val="20000"/>
            </a:srgbClr>
          </a:solidFill>
          <a:ln w="28575">
            <a:solidFill>
              <a:srgbClr val="F7A81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4542609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Connecteur droit 41"/>
          <p:cNvCxnSpPr>
            <a:stCxn id="33" idx="7"/>
          </p:cNvCxnSpPr>
          <p:nvPr/>
        </p:nvCxnSpPr>
        <p:spPr>
          <a:xfrm flipV="1">
            <a:off x="2709385" y="2329131"/>
            <a:ext cx="640261" cy="442275"/>
          </a:xfrm>
          <a:prstGeom prst="line">
            <a:avLst/>
          </a:prstGeom>
          <a:ln w="28575">
            <a:solidFill>
              <a:srgbClr val="004C8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1384" y="304803"/>
            <a:ext cx="9937104" cy="1423467"/>
          </a:xfrm>
        </p:spPr>
        <p:txBody>
          <a:bodyPr/>
          <a:lstStyle/>
          <a:p>
            <a:r>
              <a:rPr lang="fr-CH" dirty="0"/>
              <a:t>Nouvelle organisation – Modification des Statuts RSS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grpSp>
        <p:nvGrpSpPr>
          <p:cNvPr id="29" name="Groupe 28"/>
          <p:cNvGrpSpPr/>
          <p:nvPr/>
        </p:nvGrpSpPr>
        <p:grpSpPr>
          <a:xfrm>
            <a:off x="738828" y="1046148"/>
            <a:ext cx="11189820" cy="5089547"/>
            <a:chOff x="738828" y="1046148"/>
            <a:chExt cx="11189820" cy="5089547"/>
          </a:xfrm>
        </p:grpSpPr>
        <p:sp>
          <p:nvSpPr>
            <p:cNvPr id="33" name="Ellipse 32"/>
            <p:cNvSpPr/>
            <p:nvPr/>
          </p:nvSpPr>
          <p:spPr>
            <a:xfrm>
              <a:off x="738828" y="2433312"/>
              <a:ext cx="2308651" cy="2308651"/>
            </a:xfrm>
            <a:prstGeom prst="ellipse">
              <a:avLst/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 l="6746" t="21688" r="6746" b="21688"/>
              </a:stretch>
            </a:blipFill>
            <a:ln w="28575">
              <a:solidFill>
                <a:srgbClr val="004C8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35" name="Forme libre 34"/>
            <p:cNvSpPr/>
            <p:nvPr/>
          </p:nvSpPr>
          <p:spPr>
            <a:xfrm>
              <a:off x="5080665" y="1140912"/>
              <a:ext cx="4294856" cy="1292400"/>
            </a:xfrm>
            <a:custGeom>
              <a:avLst/>
              <a:gdLst>
                <a:gd name="connsiteX0" fmla="*/ 0 w 1938601"/>
                <a:gd name="connsiteY0" fmla="*/ 0 h 1292400"/>
                <a:gd name="connsiteX1" fmla="*/ 1938601 w 1938601"/>
                <a:gd name="connsiteY1" fmla="*/ 0 h 1292400"/>
                <a:gd name="connsiteX2" fmla="*/ 1938601 w 1938601"/>
                <a:gd name="connsiteY2" fmla="*/ 1292400 h 1292400"/>
                <a:gd name="connsiteX3" fmla="*/ 0 w 1938601"/>
                <a:gd name="connsiteY3" fmla="*/ 1292400 h 1292400"/>
                <a:gd name="connsiteX4" fmla="*/ 0 w 1938601"/>
                <a:gd name="connsiteY4" fmla="*/ 0 h 129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8601" h="1292400">
                  <a:moveTo>
                    <a:pt x="0" y="0"/>
                  </a:moveTo>
                  <a:lnTo>
                    <a:pt x="1938601" y="0"/>
                  </a:lnTo>
                  <a:lnTo>
                    <a:pt x="1938601" y="1292400"/>
                  </a:lnTo>
                  <a:lnTo>
                    <a:pt x="0" y="12924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542885" lvl="1" indent="-542885" algn="l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Blip>
                  <a:blip r:embed="rId3"/>
                </a:buBlip>
              </a:pPr>
              <a:r>
                <a:rPr lang="fr-FR" sz="1600" b="1" kern="1200" dirty="0">
                  <a:latin typeface="Calibri" panose="020F0502020204030204" pitchFamily="34" charset="0"/>
                  <a:cs typeface="Calibri" panose="020F0502020204030204" pitchFamily="34" charset="0"/>
                </a:rPr>
                <a:t>Une nouvelle tâche pour le </a:t>
              </a:r>
              <a:r>
                <a:rPr lang="fr-FR" sz="1600" b="1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SS</a:t>
              </a:r>
              <a:br>
                <a:rPr lang="fr-FR" sz="1600" b="1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fr-FR" sz="1600" b="1" kern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(nouveau </a:t>
              </a:r>
              <a:r>
                <a:rPr lang="fr-FR" sz="1600" b="1" kern="1200" dirty="0">
                  <a:latin typeface="Calibri" panose="020F0502020204030204" pitchFamily="34" charset="0"/>
                  <a:cs typeface="Calibri" panose="020F0502020204030204" pitchFamily="34" charset="0"/>
                </a:rPr>
                <a:t>but du RSS </a:t>
              </a: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- </a:t>
              </a:r>
              <a:r>
                <a:rPr lang="fr-FR" sz="1600" b="1" kern="1200" dirty="0">
                  <a:latin typeface="Calibri" panose="020F0502020204030204" pitchFamily="34" charset="0"/>
                  <a:cs typeface="Calibri" panose="020F0502020204030204" pitchFamily="34" charset="0"/>
                </a:rPr>
                <a:t>art. </a:t>
              </a:r>
              <a:r>
                <a:rPr lang="fr-FR" sz="1600" b="1" dirty="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itchFamily="-112" charset="-128"/>
                  <a:cs typeface="Calibri" panose="020F0502020204030204" pitchFamily="34" charset="0"/>
                </a:rPr>
                <a:t>3 Statuts)</a:t>
              </a:r>
            </a:p>
            <a:p>
              <a:pPr marL="542885" lvl="1" indent="-542885" algn="l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Blip>
                  <a:blip r:embed="rId3"/>
                </a:buBlip>
              </a:pP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Unanimité des communes </a:t>
              </a:r>
              <a:r>
                <a:rPr lang="fr-FR" sz="16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nécessaire</a:t>
              </a:r>
              <a:endParaRPr lang="fr-FR" sz="16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Forme libre 35"/>
            <p:cNvSpPr/>
            <p:nvPr/>
          </p:nvSpPr>
          <p:spPr>
            <a:xfrm>
              <a:off x="4171011" y="2727238"/>
              <a:ext cx="1720800" cy="1720800"/>
            </a:xfrm>
            <a:custGeom>
              <a:avLst/>
              <a:gdLst>
                <a:gd name="connsiteX0" fmla="*/ 0 w 1292400"/>
                <a:gd name="connsiteY0" fmla="*/ 646200 h 1292400"/>
                <a:gd name="connsiteX1" fmla="*/ 646200 w 1292400"/>
                <a:gd name="connsiteY1" fmla="*/ 0 h 1292400"/>
                <a:gd name="connsiteX2" fmla="*/ 1292400 w 1292400"/>
                <a:gd name="connsiteY2" fmla="*/ 646200 h 1292400"/>
                <a:gd name="connsiteX3" fmla="*/ 646200 w 1292400"/>
                <a:gd name="connsiteY3" fmla="*/ 1292400 h 1292400"/>
                <a:gd name="connsiteX4" fmla="*/ 0 w 1292400"/>
                <a:gd name="connsiteY4" fmla="*/ 646200 h 129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2400" h="1292400">
                  <a:moveTo>
                    <a:pt x="0" y="646200"/>
                  </a:moveTo>
                  <a:cubicBezTo>
                    <a:pt x="0" y="289314"/>
                    <a:pt x="289314" y="0"/>
                    <a:pt x="646200" y="0"/>
                  </a:cubicBezTo>
                  <a:cubicBezTo>
                    <a:pt x="1003086" y="0"/>
                    <a:pt x="1292400" y="289314"/>
                    <a:pt x="1292400" y="646200"/>
                  </a:cubicBezTo>
                  <a:cubicBezTo>
                    <a:pt x="1292400" y="1003086"/>
                    <a:pt x="1003086" y="1292400"/>
                    <a:pt x="646200" y="1292400"/>
                  </a:cubicBezTo>
                  <a:cubicBezTo>
                    <a:pt x="289314" y="1292400"/>
                    <a:pt x="0" y="1003086"/>
                    <a:pt x="0" y="646200"/>
                  </a:cubicBezTo>
                  <a:close/>
                </a:path>
              </a:pathLst>
            </a:cu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96888" tIns="196888" rIns="196888" bIns="196888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600" kern="1200" dirty="0"/>
                <a:t>Taxe d'exemption</a:t>
              </a:r>
            </a:p>
          </p:txBody>
        </p:sp>
        <p:sp>
          <p:nvSpPr>
            <p:cNvPr id="37" name="Forme libre 36"/>
            <p:cNvSpPr/>
            <p:nvPr/>
          </p:nvSpPr>
          <p:spPr>
            <a:xfrm>
              <a:off x="6096000" y="2941438"/>
              <a:ext cx="5760640" cy="1292400"/>
            </a:xfrm>
            <a:custGeom>
              <a:avLst/>
              <a:gdLst>
                <a:gd name="connsiteX0" fmla="*/ 0 w 1938601"/>
                <a:gd name="connsiteY0" fmla="*/ 0 h 1292400"/>
                <a:gd name="connsiteX1" fmla="*/ 1938601 w 1938601"/>
                <a:gd name="connsiteY1" fmla="*/ 0 h 1292400"/>
                <a:gd name="connsiteX2" fmla="*/ 1938601 w 1938601"/>
                <a:gd name="connsiteY2" fmla="*/ 1292400 h 1292400"/>
                <a:gd name="connsiteX3" fmla="*/ 0 w 1938601"/>
                <a:gd name="connsiteY3" fmla="*/ 1292400 h 1292400"/>
                <a:gd name="connsiteX4" fmla="*/ 0 w 1938601"/>
                <a:gd name="connsiteY4" fmla="*/ 0 h 129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8601" h="1292400">
                  <a:moveTo>
                    <a:pt x="0" y="0"/>
                  </a:moveTo>
                  <a:lnTo>
                    <a:pt x="1938601" y="0"/>
                  </a:lnTo>
                  <a:lnTo>
                    <a:pt x="1938601" y="1292400"/>
                  </a:lnTo>
                  <a:lnTo>
                    <a:pt x="0" y="12924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542885" lvl="1" indent="-542885" algn="l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Blip>
                  <a:blip r:embed="rId3"/>
                </a:buBlip>
              </a:pP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Elaboration d'un règlement (</a:t>
              </a:r>
              <a:r>
                <a:rPr lang="fr-FR" sz="16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RTaxe</a:t>
              </a: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  <a:p>
              <a:pPr marL="542885" lvl="1" indent="-542885" algn="l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Blip>
                  <a:blip r:embed="rId3"/>
                </a:buBlip>
              </a:pP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Prélèvement de la taxe par les communes</a:t>
              </a:r>
            </a:p>
            <a:p>
              <a:pPr marL="542885" lvl="1" indent="-542885" algn="l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Blip>
                  <a:blip r:embed="rId3"/>
                </a:buBlip>
              </a:pP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Paiement au RSS du montant total de la taxe facturée et non du montant réellement prélevé</a:t>
              </a:r>
            </a:p>
            <a:p>
              <a:pPr marL="542885" lvl="1" indent="-542885" algn="l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Blip>
                  <a:blip r:embed="rId3"/>
                </a:buBlip>
              </a:pP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Taxe prévue en 2023 : CHF </a:t>
              </a:r>
              <a:r>
                <a:rPr lang="fr-FR" sz="16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100.00 </a:t>
              </a: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(max. décidé = CHF </a:t>
              </a:r>
              <a:r>
                <a:rPr lang="fr-FR" sz="16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160.00)</a:t>
              </a:r>
              <a:endParaRPr lang="fr-FR" sz="16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Forme libre 37"/>
            <p:cNvSpPr/>
            <p:nvPr/>
          </p:nvSpPr>
          <p:spPr>
            <a:xfrm>
              <a:off x="3190576" y="4368659"/>
              <a:ext cx="1720800" cy="1720800"/>
            </a:xfrm>
            <a:custGeom>
              <a:avLst/>
              <a:gdLst>
                <a:gd name="connsiteX0" fmla="*/ 0 w 1385191"/>
                <a:gd name="connsiteY0" fmla="*/ 692596 h 1385191"/>
                <a:gd name="connsiteX1" fmla="*/ 692596 w 1385191"/>
                <a:gd name="connsiteY1" fmla="*/ 0 h 1385191"/>
                <a:gd name="connsiteX2" fmla="*/ 1385192 w 1385191"/>
                <a:gd name="connsiteY2" fmla="*/ 692596 h 1385191"/>
                <a:gd name="connsiteX3" fmla="*/ 692596 w 1385191"/>
                <a:gd name="connsiteY3" fmla="*/ 1385192 h 1385191"/>
                <a:gd name="connsiteX4" fmla="*/ 0 w 1385191"/>
                <a:gd name="connsiteY4" fmla="*/ 692596 h 138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5191" h="1385191">
                  <a:moveTo>
                    <a:pt x="0" y="692596"/>
                  </a:moveTo>
                  <a:cubicBezTo>
                    <a:pt x="0" y="310086"/>
                    <a:pt x="310086" y="0"/>
                    <a:pt x="692596" y="0"/>
                  </a:cubicBezTo>
                  <a:cubicBezTo>
                    <a:pt x="1075106" y="0"/>
                    <a:pt x="1385192" y="310086"/>
                    <a:pt x="1385192" y="692596"/>
                  </a:cubicBezTo>
                  <a:cubicBezTo>
                    <a:pt x="1385192" y="1075106"/>
                    <a:pt x="1075106" y="1385192"/>
                    <a:pt x="692596" y="1385192"/>
                  </a:cubicBezTo>
                  <a:cubicBezTo>
                    <a:pt x="310086" y="1385192"/>
                    <a:pt x="0" y="1075106"/>
                    <a:pt x="0" y="692596"/>
                  </a:cubicBezTo>
                  <a:close/>
                </a:path>
              </a:pathLst>
            </a:cu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0477" tIns="210477" rIns="210477" bIns="210477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600" kern="1200" dirty="0">
                  <a:solidFill>
                    <a:srgbClr val="004C81"/>
                  </a:solidFill>
                </a:rPr>
                <a:t>Augmentation de la limite d'endettement du RSS</a:t>
              </a:r>
            </a:p>
          </p:txBody>
        </p:sp>
        <p:sp>
          <p:nvSpPr>
            <p:cNvPr id="39" name="Forme libre 38"/>
            <p:cNvSpPr/>
            <p:nvPr/>
          </p:nvSpPr>
          <p:spPr>
            <a:xfrm>
              <a:off x="5159896" y="4750504"/>
              <a:ext cx="6768752" cy="1385191"/>
            </a:xfrm>
            <a:custGeom>
              <a:avLst/>
              <a:gdLst>
                <a:gd name="connsiteX0" fmla="*/ 0 w 2077786"/>
                <a:gd name="connsiteY0" fmla="*/ 0 h 1385191"/>
                <a:gd name="connsiteX1" fmla="*/ 2077786 w 2077786"/>
                <a:gd name="connsiteY1" fmla="*/ 0 h 1385191"/>
                <a:gd name="connsiteX2" fmla="*/ 2077786 w 2077786"/>
                <a:gd name="connsiteY2" fmla="*/ 1385191 h 1385191"/>
                <a:gd name="connsiteX3" fmla="*/ 0 w 2077786"/>
                <a:gd name="connsiteY3" fmla="*/ 1385191 h 1385191"/>
                <a:gd name="connsiteX4" fmla="*/ 0 w 2077786"/>
                <a:gd name="connsiteY4" fmla="*/ 0 h 138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7786" h="1385191">
                  <a:moveTo>
                    <a:pt x="0" y="0"/>
                  </a:moveTo>
                  <a:lnTo>
                    <a:pt x="2077786" y="0"/>
                  </a:lnTo>
                  <a:lnTo>
                    <a:pt x="2077786" y="1385191"/>
                  </a:lnTo>
                  <a:lnTo>
                    <a:pt x="0" y="138519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542885" lvl="1" indent="-542885" algn="l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Blip>
                  <a:blip r:embed="rId3"/>
                </a:buBlip>
              </a:pP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Augmentation à CHF 120 </a:t>
              </a:r>
              <a:r>
                <a:rPr lang="fr-FR" sz="16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mio</a:t>
              </a:r>
              <a:endParaRPr lang="fr-FR" sz="16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542885" lvl="1" indent="-542885" algn="l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Blip>
                  <a:blip r:embed="rId3"/>
                </a:buBlip>
              </a:pP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Imputation aux pompiers = </a:t>
              </a:r>
              <a:r>
                <a:rPr lang="fr-FR" sz="1600" b="1" u="dbl" dirty="0">
                  <a:latin typeface="Calibri" panose="020F0502020204030204" pitchFamily="34" charset="0"/>
                  <a:cs typeface="Calibri" panose="020F0502020204030204" pitchFamily="34" charset="0"/>
                </a:rPr>
                <a:t>CHF 60 </a:t>
              </a:r>
              <a:r>
                <a:rPr lang="fr-FR" sz="1600" b="1" u="dbl" dirty="0" err="1">
                  <a:latin typeface="Calibri" panose="020F0502020204030204" pitchFamily="34" charset="0"/>
                  <a:cs typeface="Calibri" panose="020F0502020204030204" pitchFamily="34" charset="0"/>
                </a:rPr>
                <a:t>mio</a:t>
              </a:r>
              <a:endParaRPr lang="fr-FR" sz="1600" b="1" u="dbl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542885" lvl="1" indent="-542885" algn="l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Blip>
                  <a:blip r:embed="rId3"/>
                </a:buBlip>
              </a:pP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5 nouvelles casernes d'un montant de CHF 3 </a:t>
              </a:r>
              <a:r>
                <a:rPr lang="fr-FR" sz="16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mio</a:t>
              </a: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 / unité = </a:t>
              </a:r>
              <a:r>
                <a:rPr lang="fr-FR" sz="16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CHF 15 </a:t>
              </a:r>
              <a:r>
                <a:rPr lang="fr-FR" sz="1600" b="1" u="sng" dirty="0" err="1">
                  <a:latin typeface="Calibri" panose="020F0502020204030204" pitchFamily="34" charset="0"/>
                  <a:cs typeface="Calibri" panose="020F0502020204030204" pitchFamily="34" charset="0"/>
                </a:rPr>
                <a:t>mio</a:t>
              </a: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/>
              </a:r>
              <a:b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1 caserne unique (ambulances et pompiers) dans le Grand Fribourg</a:t>
              </a:r>
              <a:b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= </a:t>
              </a:r>
              <a:r>
                <a:rPr lang="fr-FR" sz="16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CHF 25 </a:t>
              </a:r>
              <a:r>
                <a:rPr lang="fr-FR" sz="1600" b="1" u="sng" dirty="0" err="1">
                  <a:latin typeface="Calibri" panose="020F0502020204030204" pitchFamily="34" charset="0"/>
                  <a:cs typeface="Calibri" panose="020F0502020204030204" pitchFamily="34" charset="0"/>
                </a:rPr>
                <a:t>mio</a:t>
              </a: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/>
              </a:r>
              <a:b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fr-FR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Réserve pour acquisition des terrains = </a:t>
              </a:r>
              <a:r>
                <a:rPr lang="fr-FR" sz="16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CHF 20 </a:t>
              </a:r>
              <a:r>
                <a:rPr lang="fr-FR" sz="1600" b="1" u="sng" dirty="0" err="1">
                  <a:latin typeface="Calibri" panose="020F0502020204030204" pitchFamily="34" charset="0"/>
                  <a:cs typeface="Calibri" panose="020F0502020204030204" pitchFamily="34" charset="0"/>
                </a:rPr>
                <a:t>mio</a:t>
              </a:r>
              <a:endParaRPr lang="fr-FR" sz="1600" b="1" u="sng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fr-FR" sz="900" kern="1200" dirty="0"/>
            </a:p>
          </p:txBody>
        </p:sp>
        <p:sp>
          <p:nvSpPr>
            <p:cNvPr id="34" name="Forme libre 33"/>
            <p:cNvSpPr/>
            <p:nvPr/>
          </p:nvSpPr>
          <p:spPr>
            <a:xfrm>
              <a:off x="3190576" y="1046148"/>
              <a:ext cx="1720800" cy="1720800"/>
            </a:xfrm>
            <a:custGeom>
              <a:avLst/>
              <a:gdLst>
                <a:gd name="connsiteX0" fmla="*/ 0 w 1292400"/>
                <a:gd name="connsiteY0" fmla="*/ 646200 h 1292400"/>
                <a:gd name="connsiteX1" fmla="*/ 646200 w 1292400"/>
                <a:gd name="connsiteY1" fmla="*/ 0 h 1292400"/>
                <a:gd name="connsiteX2" fmla="*/ 1292400 w 1292400"/>
                <a:gd name="connsiteY2" fmla="*/ 646200 h 1292400"/>
                <a:gd name="connsiteX3" fmla="*/ 646200 w 1292400"/>
                <a:gd name="connsiteY3" fmla="*/ 1292400 h 1292400"/>
                <a:gd name="connsiteX4" fmla="*/ 0 w 1292400"/>
                <a:gd name="connsiteY4" fmla="*/ 646200 h 129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2400" h="1292400">
                  <a:moveTo>
                    <a:pt x="0" y="646200"/>
                  </a:moveTo>
                  <a:cubicBezTo>
                    <a:pt x="0" y="289314"/>
                    <a:pt x="289314" y="0"/>
                    <a:pt x="646200" y="0"/>
                  </a:cubicBezTo>
                  <a:cubicBezTo>
                    <a:pt x="1003086" y="0"/>
                    <a:pt x="1292400" y="289314"/>
                    <a:pt x="1292400" y="646200"/>
                  </a:cubicBezTo>
                  <a:cubicBezTo>
                    <a:pt x="1292400" y="1003086"/>
                    <a:pt x="1003086" y="1292400"/>
                    <a:pt x="646200" y="1292400"/>
                  </a:cubicBezTo>
                  <a:cubicBezTo>
                    <a:pt x="289314" y="1292400"/>
                    <a:pt x="0" y="1003086"/>
                    <a:pt x="0" y="646200"/>
                  </a:cubicBezTo>
                  <a:close/>
                </a:path>
              </a:pathLst>
            </a:cu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96888" tIns="196888" rIns="196888" bIns="196888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600" kern="1200" dirty="0"/>
                <a:t>Défense incendie</a:t>
              </a:r>
            </a:p>
          </p:txBody>
        </p:sp>
      </p:grpSp>
      <p:cxnSp>
        <p:nvCxnSpPr>
          <p:cNvPr id="41" name="Connecteur droit 40"/>
          <p:cNvCxnSpPr>
            <a:stCxn id="33" idx="6"/>
            <a:endCxn id="36" idx="0"/>
          </p:cNvCxnSpPr>
          <p:nvPr/>
        </p:nvCxnSpPr>
        <p:spPr>
          <a:xfrm>
            <a:off x="3047479" y="3587638"/>
            <a:ext cx="1123532" cy="0"/>
          </a:xfrm>
          <a:prstGeom prst="line">
            <a:avLst/>
          </a:prstGeom>
          <a:ln w="28575">
            <a:solidFill>
              <a:srgbClr val="004C8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/>
          <p:cNvCxnSpPr>
            <a:stCxn id="33" idx="5"/>
          </p:cNvCxnSpPr>
          <p:nvPr/>
        </p:nvCxnSpPr>
        <p:spPr>
          <a:xfrm>
            <a:off x="2709385" y="4403869"/>
            <a:ext cx="666466" cy="287989"/>
          </a:xfrm>
          <a:prstGeom prst="line">
            <a:avLst/>
          </a:prstGeom>
          <a:ln w="28575">
            <a:solidFill>
              <a:srgbClr val="004C8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1" name="Picture 2" descr="News Clipart Source Information - Fake News Icon - Png Download - Full Size  Clipart (#1536727) - PinClipart"/>
          <p:cNvPicPr>
            <a:picLocks noChangeAspect="1" noChangeArrowheads="1"/>
          </p:cNvPicPr>
          <p:nvPr/>
        </p:nvPicPr>
        <p:blipFill>
          <a:blip r:embed="rId4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649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05721" y="222667"/>
            <a:ext cx="736667" cy="70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63560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1384" y="304803"/>
            <a:ext cx="10729192" cy="1423467"/>
          </a:xfrm>
        </p:spPr>
        <p:txBody>
          <a:bodyPr/>
          <a:lstStyle/>
          <a:p>
            <a:r>
              <a:rPr lang="fr-CH" dirty="0"/>
              <a:t>Nouvelle </a:t>
            </a:r>
            <a:r>
              <a:rPr lang="fr-CH" dirty="0" smtClean="0"/>
              <a:t>organisation niveau cantonal </a:t>
            </a:r>
            <a:r>
              <a:rPr lang="fr-CH" dirty="0"/>
              <a:t>– Bases de dépar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6" name="Espace réservé du contenu 2">
            <a:extLst>
              <a:ext uri="{FF2B5EF4-FFF2-40B4-BE49-F238E27FC236}">
                <a16:creationId xmlns:a16="http://schemas.microsoft.com/office/drawing/2014/main" id="{D29E97DD-E765-45E8-B96D-E9EB61DB8E66}"/>
              </a:ext>
            </a:extLst>
          </p:cNvPr>
          <p:cNvSpPr txBox="1">
            <a:spLocks/>
          </p:cNvSpPr>
          <p:nvPr/>
        </p:nvSpPr>
        <p:spPr>
          <a:xfrm>
            <a:off x="5969638" y="2658100"/>
            <a:ext cx="5704416" cy="25202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2885" marR="0" lvl="1" indent="-542885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80000"/>
              <a:buBlip>
                <a:blip r:embed="rId2"/>
              </a:buBlip>
              <a:tabLst/>
              <a:defRPr/>
            </a:pPr>
            <a:r>
              <a:rPr lang="fr-CH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 </a:t>
            </a:r>
            <a:r>
              <a:rPr lang="en-US" sz="2000" b="1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taillons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qui correspondent aux associations de communes</a:t>
            </a:r>
          </a:p>
          <a:p>
            <a:pPr marL="542885" marR="0" lvl="1" indent="-542885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80000"/>
              <a:buBlip>
                <a:blip r:embed="rId2"/>
              </a:buBlip>
              <a:tabLst/>
              <a:defRPr/>
            </a:pP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8 </a:t>
            </a:r>
            <a:r>
              <a:rPr lang="en-US" sz="2000" b="1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ses de </a:t>
            </a:r>
            <a:r>
              <a:rPr lang="en-US" sz="2000" b="1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épart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our </a:t>
            </a:r>
            <a:r>
              <a:rPr lang="en-US" sz="2000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uvrir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’ensemble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es </a:t>
            </a:r>
            <a:r>
              <a:rPr lang="en-US" sz="2000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isques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</a:t>
            </a:r>
            <a:r>
              <a:rPr lang="en-US" sz="2000" b="1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nt</a:t>
            </a:r>
            <a:r>
              <a:rPr lang="en-US" sz="2000" b="1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8 </a:t>
            </a:r>
            <a:r>
              <a:rPr lang="en-US" sz="2000" b="1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</a:t>
            </a:r>
            <a:r>
              <a:rPr lang="en-US" sz="2000" b="1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Sarine</a:t>
            </a:r>
          </a:p>
          <a:p>
            <a:pPr marL="542885" marR="0" lvl="1" indent="-542885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80000"/>
              <a:buBlip>
                <a:blip r:embed="rId2"/>
              </a:buBlip>
              <a:tabLst/>
              <a:defRPr/>
            </a:pP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s </a:t>
            </a:r>
            <a:r>
              <a:rPr lang="en-US" sz="2000" b="1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ssions </a:t>
            </a:r>
            <a:r>
              <a:rPr lang="en-US" sz="2000" b="1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rticulières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</a:t>
            </a:r>
            <a:r>
              <a:rPr lang="en-US" sz="2000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himie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</a:t>
            </a:r>
            <a:r>
              <a:rPr lang="en-US" sz="2000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ésincarcération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pollution </a:t>
            </a:r>
            <a:r>
              <a:rPr lang="en-US" sz="2000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vironnement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 </a:t>
            </a:r>
            <a:r>
              <a:rPr lang="en-US" sz="2000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raient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ttribuées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à </a:t>
            </a:r>
            <a:r>
              <a:rPr lang="en-US" sz="2000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ertaines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bases de </a:t>
            </a:r>
            <a:r>
              <a:rPr lang="en-US" sz="2000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épart</a:t>
            </a:r>
            <a:r>
              <a:rPr lang="en-US" sz="20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u sein des 3 zones de </a:t>
            </a:r>
            <a:r>
              <a:rPr lang="en-US" sz="2000" dirty="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cours</a:t>
            </a:r>
            <a:endParaRPr lang="fr-CH" sz="2000" dirty="0">
              <a:solidFill>
                <a:schemeClr val="tx1">
                  <a:hueOff val="0"/>
                  <a:satOff val="0"/>
                  <a:lumOff val="0"/>
                  <a:alphaOff val="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81B70603-09DE-4B87-8473-C2C4F4FCD0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4" y="1700808"/>
            <a:ext cx="3456222" cy="4434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585F7DAF-41E9-4256-B5DC-621E361BB9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276214"/>
            <a:ext cx="3456223" cy="51525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fr-CH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te des risques</a:t>
            </a:r>
          </a:p>
        </p:txBody>
      </p:sp>
      <p:sp>
        <p:nvSpPr>
          <p:cNvPr id="4" name="Flèche droite rayée 3"/>
          <p:cNvSpPr/>
          <p:nvPr/>
        </p:nvSpPr>
        <p:spPr>
          <a:xfrm>
            <a:off x="4141742" y="3594203"/>
            <a:ext cx="1827895" cy="648072"/>
          </a:xfrm>
          <a:prstGeom prst="stripedRightArrow">
            <a:avLst/>
          </a:prstGeom>
          <a:solidFill>
            <a:srgbClr val="004C8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1800" b="1" dirty="0"/>
              <a:t>Détermine</a:t>
            </a:r>
          </a:p>
        </p:txBody>
      </p:sp>
      <p:pic>
        <p:nvPicPr>
          <p:cNvPr id="21" name="Picture 2" descr="Caserne de pompiers - Icônes bâtiments gratuites"/>
          <p:cNvPicPr>
            <a:picLocks noChangeAspect="1" noChangeArrowheads="1"/>
          </p:cNvPicPr>
          <p:nvPr/>
        </p:nvPicPr>
        <p:blipFill>
          <a:blip r:embed="rId4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0388" y="178520"/>
            <a:ext cx="702000" cy="70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11743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6" name="Connecteur droit avec flèche 75"/>
          <p:cNvCxnSpPr/>
          <p:nvPr/>
        </p:nvCxnSpPr>
        <p:spPr>
          <a:xfrm>
            <a:off x="3995738" y="1925420"/>
            <a:ext cx="1568356" cy="201731"/>
          </a:xfrm>
          <a:prstGeom prst="straightConnector1">
            <a:avLst/>
          </a:prstGeom>
          <a:ln w="57150">
            <a:solidFill>
              <a:srgbClr val="FFC000"/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avec flèche 66"/>
          <p:cNvCxnSpPr/>
          <p:nvPr/>
        </p:nvCxnSpPr>
        <p:spPr>
          <a:xfrm>
            <a:off x="4005263" y="2682361"/>
            <a:ext cx="1552855" cy="223474"/>
          </a:xfrm>
          <a:prstGeom prst="straightConnector1">
            <a:avLst/>
          </a:prstGeom>
          <a:ln w="57150">
            <a:solidFill>
              <a:srgbClr val="F7A81B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/>
          <p:cNvCxnSpPr/>
          <p:nvPr/>
        </p:nvCxnSpPr>
        <p:spPr>
          <a:xfrm flipV="1">
            <a:off x="4018447" y="2290006"/>
            <a:ext cx="1545647" cy="27769"/>
          </a:xfrm>
          <a:prstGeom prst="straightConnector1">
            <a:avLst/>
          </a:prstGeom>
          <a:ln w="57150">
            <a:solidFill>
              <a:srgbClr val="F7A81B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avec flèche 62"/>
          <p:cNvCxnSpPr/>
          <p:nvPr/>
        </p:nvCxnSpPr>
        <p:spPr>
          <a:xfrm flipV="1">
            <a:off x="4005263" y="5884069"/>
            <a:ext cx="1557337" cy="145689"/>
          </a:xfrm>
          <a:prstGeom prst="straightConnector1">
            <a:avLst/>
          </a:prstGeom>
          <a:ln w="57150">
            <a:solidFill>
              <a:srgbClr val="F7A81B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7" name="Groupe 46"/>
          <p:cNvGrpSpPr/>
          <p:nvPr/>
        </p:nvGrpSpPr>
        <p:grpSpPr>
          <a:xfrm>
            <a:off x="3995738" y="4531519"/>
            <a:ext cx="1568356" cy="383381"/>
            <a:chOff x="4007925" y="3058034"/>
            <a:chExt cx="1568356" cy="383381"/>
          </a:xfrm>
        </p:grpSpPr>
        <p:cxnSp>
          <p:nvCxnSpPr>
            <p:cNvPr id="48" name="Connecteur droit avec flèche 47"/>
            <p:cNvCxnSpPr/>
            <p:nvPr/>
          </p:nvCxnSpPr>
          <p:spPr>
            <a:xfrm flipV="1">
              <a:off x="4007925" y="3203996"/>
              <a:ext cx="1568356" cy="237419"/>
            </a:xfrm>
            <a:prstGeom prst="straightConnector1">
              <a:avLst/>
            </a:prstGeom>
            <a:ln w="57150">
              <a:solidFill>
                <a:srgbClr val="F7A81B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eur droit 48"/>
            <p:cNvCxnSpPr/>
            <p:nvPr/>
          </p:nvCxnSpPr>
          <p:spPr>
            <a:xfrm>
              <a:off x="4017450" y="3058034"/>
              <a:ext cx="1404937" cy="171450"/>
            </a:xfrm>
            <a:prstGeom prst="line">
              <a:avLst/>
            </a:prstGeom>
            <a:ln w="57150">
              <a:solidFill>
                <a:srgbClr val="F7A81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e 50"/>
          <p:cNvGrpSpPr/>
          <p:nvPr/>
        </p:nvGrpSpPr>
        <p:grpSpPr>
          <a:xfrm>
            <a:off x="4007644" y="5288756"/>
            <a:ext cx="1556450" cy="368035"/>
            <a:chOff x="4089938" y="3106502"/>
            <a:chExt cx="1556450" cy="368035"/>
          </a:xfrm>
        </p:grpSpPr>
        <p:cxnSp>
          <p:nvCxnSpPr>
            <p:cNvPr id="53" name="Connecteur droit 52"/>
            <p:cNvCxnSpPr/>
            <p:nvPr/>
          </p:nvCxnSpPr>
          <p:spPr>
            <a:xfrm>
              <a:off x="4089938" y="3106502"/>
              <a:ext cx="1385887" cy="57150"/>
            </a:xfrm>
            <a:prstGeom prst="line">
              <a:avLst/>
            </a:prstGeom>
            <a:ln w="57150">
              <a:solidFill>
                <a:srgbClr val="F7A81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eur droit avec flèche 51"/>
            <p:cNvCxnSpPr/>
            <p:nvPr/>
          </p:nvCxnSpPr>
          <p:spPr>
            <a:xfrm flipV="1">
              <a:off x="4090062" y="3120766"/>
              <a:ext cx="1556326" cy="353771"/>
            </a:xfrm>
            <a:prstGeom prst="straightConnector1">
              <a:avLst/>
            </a:prstGeom>
            <a:ln w="57150">
              <a:solidFill>
                <a:srgbClr val="F7A81B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e 41"/>
          <p:cNvGrpSpPr/>
          <p:nvPr/>
        </p:nvGrpSpPr>
        <p:grpSpPr>
          <a:xfrm>
            <a:off x="4007768" y="3046946"/>
            <a:ext cx="1550350" cy="461242"/>
            <a:chOff x="4007768" y="3046946"/>
            <a:chExt cx="1550350" cy="461242"/>
          </a:xfrm>
        </p:grpSpPr>
        <p:cxnSp>
          <p:nvCxnSpPr>
            <p:cNvPr id="26" name="Connecteur droit avec flèche 25"/>
            <p:cNvCxnSpPr/>
            <p:nvPr/>
          </p:nvCxnSpPr>
          <p:spPr>
            <a:xfrm>
              <a:off x="4007768" y="3414348"/>
              <a:ext cx="1550350" cy="93840"/>
            </a:xfrm>
            <a:prstGeom prst="straightConnector1">
              <a:avLst/>
            </a:prstGeom>
            <a:ln w="57150">
              <a:solidFill>
                <a:srgbClr val="F7A81B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cteur droit 34"/>
            <p:cNvCxnSpPr/>
            <p:nvPr/>
          </p:nvCxnSpPr>
          <p:spPr>
            <a:xfrm>
              <a:off x="4009195" y="3046946"/>
              <a:ext cx="1384336" cy="455873"/>
            </a:xfrm>
            <a:prstGeom prst="line">
              <a:avLst/>
            </a:prstGeom>
            <a:ln w="57150">
              <a:solidFill>
                <a:srgbClr val="F7A81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e 43"/>
          <p:cNvGrpSpPr/>
          <p:nvPr/>
        </p:nvGrpSpPr>
        <p:grpSpPr>
          <a:xfrm>
            <a:off x="4007768" y="3789040"/>
            <a:ext cx="1556326" cy="371004"/>
            <a:chOff x="4007768" y="3789040"/>
            <a:chExt cx="1556326" cy="371004"/>
          </a:xfrm>
        </p:grpSpPr>
        <p:cxnSp>
          <p:nvCxnSpPr>
            <p:cNvPr id="30" name="Connecteur droit avec flèche 29"/>
            <p:cNvCxnSpPr/>
            <p:nvPr/>
          </p:nvCxnSpPr>
          <p:spPr>
            <a:xfrm flipV="1">
              <a:off x="4017169" y="4077072"/>
              <a:ext cx="1546925" cy="82972"/>
            </a:xfrm>
            <a:prstGeom prst="straightConnector1">
              <a:avLst/>
            </a:prstGeom>
            <a:ln w="57150">
              <a:solidFill>
                <a:srgbClr val="F7A81B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eur droit 40"/>
            <p:cNvCxnSpPr/>
            <p:nvPr/>
          </p:nvCxnSpPr>
          <p:spPr>
            <a:xfrm>
              <a:off x="4007768" y="3789040"/>
              <a:ext cx="1385763" cy="297185"/>
            </a:xfrm>
            <a:prstGeom prst="line">
              <a:avLst/>
            </a:prstGeom>
            <a:ln w="57150">
              <a:solidFill>
                <a:srgbClr val="F7A81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Groupe 70"/>
          <p:cNvGrpSpPr/>
          <p:nvPr/>
        </p:nvGrpSpPr>
        <p:grpSpPr>
          <a:xfrm>
            <a:off x="4005263" y="1547453"/>
            <a:ext cx="1558831" cy="369379"/>
            <a:chOff x="4005263" y="1547453"/>
            <a:chExt cx="1558831" cy="369379"/>
          </a:xfrm>
        </p:grpSpPr>
        <p:cxnSp>
          <p:nvCxnSpPr>
            <p:cNvPr id="70" name="Connecteur droit 69"/>
            <p:cNvCxnSpPr/>
            <p:nvPr/>
          </p:nvCxnSpPr>
          <p:spPr>
            <a:xfrm>
              <a:off x="4005263" y="1547453"/>
              <a:ext cx="1388268" cy="165739"/>
            </a:xfrm>
            <a:prstGeom prst="line">
              <a:avLst/>
            </a:prstGeom>
            <a:ln w="57150">
              <a:solidFill>
                <a:srgbClr val="F7A81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necteur droit avec flèche 11"/>
            <p:cNvCxnSpPr/>
            <p:nvPr/>
          </p:nvCxnSpPr>
          <p:spPr>
            <a:xfrm flipV="1">
              <a:off x="4007768" y="1691341"/>
              <a:ext cx="1556326" cy="225491"/>
            </a:xfrm>
            <a:prstGeom prst="straightConnector1">
              <a:avLst/>
            </a:prstGeom>
            <a:ln w="57150">
              <a:solidFill>
                <a:srgbClr val="F7A81B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1384" y="273643"/>
            <a:ext cx="10585176" cy="1423467"/>
          </a:xfrm>
        </p:spPr>
        <p:txBody>
          <a:bodyPr/>
          <a:lstStyle/>
          <a:p>
            <a:r>
              <a:rPr lang="fr-CH" dirty="0"/>
              <a:t>Nouvelle </a:t>
            </a:r>
            <a:r>
              <a:rPr lang="fr-CH" dirty="0" smtClean="0"/>
              <a:t>organisation niveau district </a:t>
            </a:r>
            <a:r>
              <a:rPr lang="fr-CH" dirty="0"/>
              <a:t>– Bases de dépar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graphicFrame>
        <p:nvGraphicFramePr>
          <p:cNvPr id="5" name="Diagramme 4"/>
          <p:cNvGraphicFramePr/>
          <p:nvPr>
            <p:extLst/>
          </p:nvPr>
        </p:nvGraphicFramePr>
        <p:xfrm>
          <a:off x="-168696" y="1412776"/>
          <a:ext cx="4968552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585F7DAF-41E9-4256-B5DC-621E361BB9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694" y="1073733"/>
            <a:ext cx="3456383" cy="51525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fr-CH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squ'au 31.12.2022</a:t>
            </a:r>
          </a:p>
        </p:txBody>
      </p:sp>
      <p:graphicFrame>
        <p:nvGraphicFramePr>
          <p:cNvPr id="9" name="Diagramme 8"/>
          <p:cNvGraphicFramePr/>
          <p:nvPr>
            <p:extLst>
              <p:ext uri="{D42A27DB-BD31-4B8C-83A1-F6EECF244321}">
                <p14:modId xmlns:p14="http://schemas.microsoft.com/office/powerpoint/2010/main" val="4220315285"/>
              </p:ext>
            </p:extLst>
          </p:nvPr>
        </p:nvGraphicFramePr>
        <p:xfrm>
          <a:off x="5231904" y="1412776"/>
          <a:ext cx="6960096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585F7DAF-41E9-4256-B5DC-621E361BB972}"/>
              </a:ext>
            </a:extLst>
          </p:cNvPr>
          <p:cNvSpPr txBox="1">
            <a:spLocks/>
          </p:cNvSpPr>
          <p:nvPr/>
        </p:nvSpPr>
        <p:spPr bwMode="auto">
          <a:xfrm>
            <a:off x="7248128" y="1073732"/>
            <a:ext cx="3456383" cy="515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58750" indent="-358750" algn="l" defTabSz="457166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ＭＳ Ｐゴシック" pitchFamily="-112" charset="-128"/>
                <a:cs typeface="Trebuchet MS" panose="020B0603020202020204" pitchFamily="34" charset="0"/>
              </a:defRPr>
            </a:lvl1pPr>
            <a:lvl2pPr marL="273031" indent="-271443" algn="l" defTabSz="457166" rtl="0" eaLnBrk="1" fontAlgn="base" hangingPunct="1">
              <a:spcBef>
                <a:spcPct val="0"/>
              </a:spcBef>
              <a:spcAft>
                <a:spcPts val="601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ＭＳ Ｐゴシック" pitchFamily="-112" charset="-128"/>
                <a:cs typeface="+mn-cs"/>
              </a:defRPr>
            </a:lvl2pPr>
            <a:lvl3pPr marL="539711" indent="-265093" algn="l" defTabSz="457166" rtl="0" eaLnBrk="1" fontAlgn="base" hangingPunct="1">
              <a:spcBef>
                <a:spcPct val="0"/>
              </a:spcBef>
              <a:spcAft>
                <a:spcPts val="601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Trebuchet MS" panose="020B0603020202020204" pitchFamily="34" charset="0"/>
                <a:ea typeface="ＭＳ Ｐゴシック" pitchFamily="-112" charset="-128"/>
                <a:cs typeface="+mn-cs"/>
              </a:defRPr>
            </a:lvl3pPr>
            <a:lvl4pPr marL="803215" indent="-261920" algn="l" defTabSz="457166" rtl="0" eaLnBrk="1" fontAlgn="base" hangingPunct="1">
              <a:spcBef>
                <a:spcPct val="0"/>
              </a:spcBef>
              <a:spcAft>
                <a:spcPts val="601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ＭＳ Ｐゴシック" pitchFamily="-112" charset="-128"/>
                <a:cs typeface="+mn-cs"/>
              </a:defRPr>
            </a:lvl4pPr>
            <a:lvl5pPr marL="1076245" indent="-271443" algn="l" defTabSz="457166" rtl="0" eaLnBrk="1" fontAlgn="base" hangingPunct="1">
              <a:spcBef>
                <a:spcPct val="0"/>
              </a:spcBef>
              <a:spcAft>
                <a:spcPts val="601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ＭＳ Ｐゴシック" pitchFamily="-112" charset="-128"/>
                <a:cs typeface="+mn-cs"/>
              </a:defRPr>
            </a:lvl5pPr>
            <a:lvl6pPr marL="2514413" indent="-228584" algn="l" defTabSz="45716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45716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45716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45716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Lucida Grande" pitchFamily="-112" charset="0"/>
              <a:buNone/>
            </a:pPr>
            <a:r>
              <a:rPr lang="fr-CH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ès le 01.01.2023</a:t>
            </a:r>
          </a:p>
        </p:txBody>
      </p:sp>
      <p:pic>
        <p:nvPicPr>
          <p:cNvPr id="24582" name="Picture 6" descr="People Icon Png #226618 - Free Icons Library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856" y="1896817"/>
            <a:ext cx="216000" cy="2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4" descr="Alarme - Icônes gratuites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7945" y="1652433"/>
            <a:ext cx="216000" cy="2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4" name="Groupe 73"/>
          <p:cNvGrpSpPr/>
          <p:nvPr/>
        </p:nvGrpSpPr>
        <p:grpSpPr>
          <a:xfrm>
            <a:off x="4038846" y="1317155"/>
            <a:ext cx="442779" cy="255381"/>
            <a:chOff x="4038846" y="1317155"/>
            <a:chExt cx="442779" cy="255381"/>
          </a:xfrm>
        </p:grpSpPr>
        <p:pic>
          <p:nvPicPr>
            <p:cNvPr id="24580" name="Picture 4" descr="Alarme - Icônes gratuites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846" y="131715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6" descr="People Icon Png #226618 - Free Icons Library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5625" y="1356536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1" name="Groupe 80"/>
          <p:cNvGrpSpPr/>
          <p:nvPr/>
        </p:nvGrpSpPr>
        <p:grpSpPr>
          <a:xfrm>
            <a:off x="4038846" y="2447067"/>
            <a:ext cx="450601" cy="255381"/>
            <a:chOff x="4038846" y="1317155"/>
            <a:chExt cx="450601" cy="255381"/>
          </a:xfrm>
        </p:grpSpPr>
        <p:pic>
          <p:nvPicPr>
            <p:cNvPr id="82" name="Picture 4" descr="Alarme - Icônes gratuites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846" y="131715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3" name="Picture 6" descr="People Icon Png #226618 - Free Icons Library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3447" y="1356536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4" name="Groupe 83"/>
          <p:cNvGrpSpPr/>
          <p:nvPr/>
        </p:nvGrpSpPr>
        <p:grpSpPr>
          <a:xfrm>
            <a:off x="4059073" y="3164012"/>
            <a:ext cx="436973" cy="258310"/>
            <a:chOff x="4038846" y="1317155"/>
            <a:chExt cx="436973" cy="258310"/>
          </a:xfrm>
        </p:grpSpPr>
        <p:pic>
          <p:nvPicPr>
            <p:cNvPr id="85" name="Picture 4" descr="Alarme - Icônes gratuites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846" y="131715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6" name="Picture 6" descr="People Icon Png #226618 - Free Icons Library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59819" y="135946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7" name="Groupe 86"/>
          <p:cNvGrpSpPr/>
          <p:nvPr/>
        </p:nvGrpSpPr>
        <p:grpSpPr>
          <a:xfrm>
            <a:off x="4049625" y="2079061"/>
            <a:ext cx="441794" cy="224532"/>
            <a:chOff x="4038846" y="1317155"/>
            <a:chExt cx="441794" cy="224532"/>
          </a:xfrm>
        </p:grpSpPr>
        <p:pic>
          <p:nvPicPr>
            <p:cNvPr id="88" name="Picture 4" descr="Alarme - Icônes gratuites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846" y="131715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9" name="Picture 6" descr="People Icon Png #226618 - Free Icons Library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4640" y="1325687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2" name="Groupe 101"/>
          <p:cNvGrpSpPr/>
          <p:nvPr/>
        </p:nvGrpSpPr>
        <p:grpSpPr>
          <a:xfrm>
            <a:off x="4045999" y="5326623"/>
            <a:ext cx="441364" cy="252563"/>
            <a:chOff x="4038846" y="1280592"/>
            <a:chExt cx="441364" cy="252563"/>
          </a:xfrm>
        </p:grpSpPr>
        <p:pic>
          <p:nvPicPr>
            <p:cNvPr id="103" name="Picture 4" descr="Alarme - Icônes gratuites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846" y="131715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" name="Picture 6" descr="People Icon Png #226618 - Free Icons Library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4210" y="1280592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5" name="Groupe 104"/>
          <p:cNvGrpSpPr/>
          <p:nvPr/>
        </p:nvGrpSpPr>
        <p:grpSpPr>
          <a:xfrm>
            <a:off x="4051069" y="4620928"/>
            <a:ext cx="446996" cy="219460"/>
            <a:chOff x="4038846" y="1313695"/>
            <a:chExt cx="446996" cy="219460"/>
          </a:xfrm>
        </p:grpSpPr>
        <p:pic>
          <p:nvPicPr>
            <p:cNvPr id="106" name="Picture 4" descr="Alarme - Icônes gratuites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846" y="131715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7" name="Picture 6" descr="People Icon Png #226618 - Free Icons Library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9842" y="131369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8" name="Groupe 107"/>
          <p:cNvGrpSpPr/>
          <p:nvPr/>
        </p:nvGrpSpPr>
        <p:grpSpPr>
          <a:xfrm>
            <a:off x="4059419" y="3894213"/>
            <a:ext cx="442753" cy="230956"/>
            <a:chOff x="4038846" y="1317155"/>
            <a:chExt cx="442753" cy="230956"/>
          </a:xfrm>
        </p:grpSpPr>
        <p:pic>
          <p:nvPicPr>
            <p:cNvPr id="109" name="Picture 4" descr="Alarme - Icônes gratuites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846" y="131715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0" name="Picture 6" descr="People Icon Png #226618 - Free Icons Library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5599" y="1332111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1" name="Groupe 110"/>
          <p:cNvGrpSpPr/>
          <p:nvPr/>
        </p:nvGrpSpPr>
        <p:grpSpPr>
          <a:xfrm>
            <a:off x="4038846" y="5764262"/>
            <a:ext cx="450377" cy="226115"/>
            <a:chOff x="4038846" y="1307040"/>
            <a:chExt cx="450377" cy="226115"/>
          </a:xfrm>
        </p:grpSpPr>
        <p:pic>
          <p:nvPicPr>
            <p:cNvPr id="112" name="Picture 4" descr="Alarme - Icônes gratuites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846" y="1317155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3" name="Picture 6" descr="People Icon Png #226618 - Free Icons Library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3223" y="1307040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5" name="Picture 2" descr="Caserne de pompiers - Icônes bâtiments gratuites"/>
          <p:cNvPicPr>
            <a:picLocks noChangeAspect="1" noChangeArrowheads="1"/>
          </p:cNvPicPr>
          <p:nvPr/>
        </p:nvPicPr>
        <p:blipFill>
          <a:blip r:embed="rId14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0388" y="178520"/>
            <a:ext cx="702000" cy="70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1172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1384" y="304803"/>
            <a:ext cx="10513168" cy="948978"/>
          </a:xfrm>
        </p:spPr>
        <p:txBody>
          <a:bodyPr/>
          <a:lstStyle/>
          <a:p>
            <a:r>
              <a:rPr lang="fr-CH" sz="2500" dirty="0"/>
              <a:t>Nouvelle organisation – </a:t>
            </a:r>
            <a:r>
              <a:rPr lang="fr-CH" sz="2500" dirty="0" smtClean="0"/>
              <a:t>Proposition d’Organigramme Bataillon Sarine</a:t>
            </a:r>
            <a:r>
              <a:rPr lang="fr-CH" dirty="0"/>
              <a:t/>
            </a:r>
            <a:br>
              <a:rPr lang="fr-CH" dirty="0"/>
            </a:br>
            <a:r>
              <a:rPr lang="fr-CH" dirty="0"/>
              <a:t>—</a:t>
            </a:r>
          </a:p>
        </p:txBody>
      </p:sp>
      <p:pic>
        <p:nvPicPr>
          <p:cNvPr id="101" name="Picture 2" descr="contact centre naturoform naturopathie sophrologie| Centrenaturoform.f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9564" y="269159"/>
            <a:ext cx="739306" cy="73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551384" y="1253781"/>
            <a:ext cx="2397075" cy="720080"/>
          </a:xfrm>
          <a:prstGeom prst="rect">
            <a:avLst/>
          </a:prstGeom>
          <a:solidFill>
            <a:srgbClr val="002060"/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>
                <a:solidFill>
                  <a:srgbClr val="F0CD4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VISOIRE</a:t>
            </a:r>
          </a:p>
          <a:p>
            <a:pPr algn="ctr"/>
            <a:r>
              <a:rPr lang="fr-CH" b="1" dirty="0">
                <a:solidFill>
                  <a:srgbClr val="F0CD4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tat au </a:t>
            </a:r>
            <a:r>
              <a:rPr lang="fr-CH" b="1" dirty="0" smtClean="0">
                <a:solidFill>
                  <a:srgbClr val="F0CD4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1.08.2022</a:t>
            </a:r>
            <a:endParaRPr lang="fr-CH" b="1" dirty="0">
              <a:solidFill>
                <a:srgbClr val="F0CD4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1464" y="875959"/>
            <a:ext cx="9464044" cy="5245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976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4"/>
          <p:cNvSpPr>
            <a:spLocks noGrp="1"/>
          </p:cNvSpPr>
          <p:nvPr>
            <p:ph type="title"/>
          </p:nvPr>
        </p:nvSpPr>
        <p:spPr>
          <a:xfrm>
            <a:off x="551384" y="304803"/>
            <a:ext cx="9672122" cy="94898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fr-CH" dirty="0" smtClean="0"/>
              <a:t>Etat d'esprit des sapeurs-pompiers actifs en 2022</a:t>
            </a:r>
            <a:r>
              <a:rPr lang="fr-CH" dirty="0"/>
              <a:t/>
            </a:r>
            <a:br>
              <a:rPr lang="fr-CH" dirty="0"/>
            </a:br>
            <a:r>
              <a:rPr lang="fr-CH" dirty="0"/>
              <a:t>—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923" y="2386256"/>
            <a:ext cx="6252735" cy="3691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722" name="Picture 2" descr="Attitude, happy, man, optimistic, person, positive icon - Download on  Iconfind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222" y="1139396"/>
            <a:ext cx="2493719" cy="2493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4" name="Picture 4" descr="Conseils pour réussir sa formation professionnelle - Formaxe.co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00" y="3212976"/>
            <a:ext cx="5100608" cy="3191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ntroduction Photo Silhouette PNG isolé | PNG Mart"/>
          <p:cNvPicPr>
            <a:picLocks noChangeAspect="1" noChangeArrowheads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0536" y="309474"/>
            <a:ext cx="958567" cy="70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685923" y="1256933"/>
            <a:ext cx="6252735" cy="886081"/>
          </a:xfrm>
          <a:prstGeom prst="rect">
            <a:avLst/>
          </a:prstGeom>
          <a:solidFill>
            <a:srgbClr val="002060"/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>
              <a:defRPr b="1">
                <a:solidFill>
                  <a:srgbClr val="F0CD4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r>
              <a:rPr lang="fr-FR" dirty="0"/>
              <a:t>Selon questionnaire envoyé aux 806 pompiers du district en avril 2022</a:t>
            </a:r>
            <a:endParaRPr lang="fr-CH" dirty="0" err="1"/>
          </a:p>
        </p:txBody>
      </p:sp>
    </p:spTree>
    <p:extLst>
      <p:ext uri="{BB962C8B-B14F-4D97-AF65-F5344CB8AC3E}">
        <p14:creationId xmlns:p14="http://schemas.microsoft.com/office/powerpoint/2010/main" val="12738365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4"/>
          <p:cNvSpPr>
            <a:spLocks noGrp="1"/>
          </p:cNvSpPr>
          <p:nvPr>
            <p:ph type="title"/>
          </p:nvPr>
        </p:nvSpPr>
        <p:spPr>
          <a:xfrm>
            <a:off x="551384" y="304803"/>
            <a:ext cx="9672122" cy="94898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fr-CH" dirty="0"/>
              <a:t>Origines de la réform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pic>
        <p:nvPicPr>
          <p:cNvPr id="3" name="Picture 2" descr="News Clipart Source Information - Fake News Icon - Png Download - Full Size  Clipart (#1536727) - PinClipart"/>
          <p:cNvPicPr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649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2282" y="222667"/>
            <a:ext cx="736667" cy="70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Espace réservé du contenu 2"/>
          <p:cNvSpPr txBox="1">
            <a:spLocks/>
          </p:cNvSpPr>
          <p:nvPr/>
        </p:nvSpPr>
        <p:spPr bwMode="auto">
          <a:xfrm>
            <a:off x="551384" y="1160749"/>
            <a:ext cx="82423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58775" indent="-358775" algn="l" defTabSz="457200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fr-CH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Une vision principale :</a:t>
            </a:r>
            <a:endParaRPr lang="fr-CH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anose="020B0603020202020204" pitchFamily="34" charset="0"/>
            </a:endParaRPr>
          </a:p>
          <a:p>
            <a:pPr marL="0" indent="0">
              <a:buNone/>
            </a:pPr>
            <a:endParaRPr lang="fr-CH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anose="020B0603020202020204" pitchFamily="34" charset="0"/>
            </a:endParaRPr>
          </a:p>
          <a:p>
            <a:pPr marL="0" indent="0">
              <a:buNone/>
            </a:pPr>
            <a:endParaRPr lang="fr-CH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anose="020B0603020202020204" pitchFamily="34" charset="0"/>
            </a:endParaRPr>
          </a:p>
          <a:p>
            <a:pPr marL="0" indent="0">
              <a:buNone/>
            </a:pPr>
            <a:endParaRPr lang="fr-CH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anose="020B0603020202020204" pitchFamily="34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392" y="1917426"/>
            <a:ext cx="1548245" cy="1494681"/>
          </a:xfrm>
          <a:prstGeom prst="rect">
            <a:avLst/>
          </a:prstGeom>
        </p:spPr>
      </p:pic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9B4E4F3B-894C-4E28-8E52-3B65E1F9E7AB}"/>
              </a:ext>
            </a:extLst>
          </p:cNvPr>
          <p:cNvSpPr txBox="1">
            <a:spLocks/>
          </p:cNvSpPr>
          <p:nvPr/>
        </p:nvSpPr>
        <p:spPr>
          <a:xfrm>
            <a:off x="2279576" y="1917426"/>
            <a:ext cx="9361040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marR="0" lvl="0" indent="30163" algn="just" defTabSz="4572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800" b="0" i="1" u="none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« A Fribourg, </a:t>
            </a:r>
            <a:r>
              <a:rPr kumimoji="0" lang="fr-CH" sz="1800" b="1" i="1" u="sng" strike="noStrike" kern="1200" cap="none" spc="0" normalizeH="0" baseline="0" noProof="0" dirty="0">
                <a:ln>
                  <a:noFill/>
                </a:ln>
                <a:solidFill>
                  <a:srgbClr val="12466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ors d’événements relevant des sapeurs-pompiers</a:t>
            </a:r>
            <a:r>
              <a:rPr kumimoji="0" lang="fr-CH" sz="1800" b="0" i="1" u="none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le dispositif en place permet de fournir </a:t>
            </a:r>
            <a:r>
              <a:rPr kumimoji="0" lang="fr-CH" sz="1800" b="1" i="1" u="sng" strike="noStrike" kern="1200" cap="none" spc="0" normalizeH="0" baseline="0" noProof="0" dirty="0">
                <a:ln>
                  <a:noFill/>
                </a:ln>
                <a:solidFill>
                  <a:srgbClr val="12466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l’aide adéquate la plus rapide</a:t>
            </a:r>
            <a:r>
              <a:rPr kumimoji="0" lang="fr-CH" sz="1800" b="0" i="1" u="none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 Les ressources sont mises à disposition </a:t>
            </a:r>
            <a:r>
              <a:rPr kumimoji="0" lang="fr-CH" sz="1800" b="1" i="1" u="sng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 fonction des risques</a:t>
            </a:r>
            <a:r>
              <a:rPr kumimoji="0" lang="fr-CH" sz="1800" b="0" i="1" u="none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non des frontières politiques. Les communes, l’Etat, l’ECAB et les autres partenaires </a:t>
            </a:r>
            <a:r>
              <a:rPr kumimoji="0" lang="fr-CH" sz="1800" b="1" i="1" u="sng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oopèrent</a:t>
            </a:r>
            <a:r>
              <a:rPr kumimoji="0" lang="fr-CH" sz="1800" b="0" i="1" u="none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chacun avec ses prérogatives, pour assurer que le dispositif </a:t>
            </a:r>
            <a:r>
              <a:rPr kumimoji="0" lang="fr-CH" sz="1800" b="1" i="1" u="sng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tteigne ses objectifs 24/24</a:t>
            </a:r>
            <a:r>
              <a:rPr kumimoji="0" lang="fr-CH" sz="1800" b="0" i="1" u="none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et soit </a:t>
            </a:r>
            <a:r>
              <a:rPr kumimoji="0" lang="fr-CH" sz="1800" b="1" i="1" u="sng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inancièrement durable</a:t>
            </a:r>
            <a:r>
              <a:rPr kumimoji="0" lang="fr-CH" sz="1800" b="0" i="1" u="none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 Le dispositif est basé sur un système de </a:t>
            </a:r>
            <a:r>
              <a:rPr kumimoji="0" lang="fr-CH" sz="1800" b="0" i="1" u="sng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ilice</a:t>
            </a:r>
            <a:r>
              <a:rPr kumimoji="0" lang="fr-CH" sz="1800" b="0" i="1" u="none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 »</a:t>
            </a:r>
          </a:p>
          <a:p>
            <a:pPr marL="88900" marR="0" lvl="0" indent="30163" algn="l" defTabSz="4572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H" sz="1800" b="0" i="1" u="none" strike="noStrike" kern="1200" cap="none" spc="0" normalizeH="0" baseline="0" noProof="0" dirty="0">
              <a:ln>
                <a:noFill/>
              </a:ln>
              <a:solidFill>
                <a:srgbClr val="00497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88900" marR="0" lvl="0" indent="30163" algn="l" defTabSz="4572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H" sz="1800" b="0" i="1" u="none" strike="noStrike" kern="1200" cap="none" spc="0" normalizeH="0" baseline="0" noProof="0" dirty="0">
              <a:ln>
                <a:noFill/>
              </a:ln>
              <a:solidFill>
                <a:srgbClr val="00497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88900" marR="0" lvl="0" indent="30163" algn="l" defTabSz="4572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800" b="1" i="0" u="none" strike="noStrike" kern="1200" cap="none" spc="0" normalizeH="0" baseline="0" noProof="0" dirty="0">
                <a:ln>
                  <a:noFill/>
                </a:ln>
                <a:solidFill>
                  <a:srgbClr val="00497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ette vision a guidé les travaux des différents groupes de travail.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00497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ct val="80000"/>
              <a:buFont typeface="Wingdings 3" charset="2"/>
              <a:buChar char=""/>
              <a:tabLst/>
              <a:defRPr/>
            </a:pPr>
            <a:endParaRPr kumimoji="0" lang="fr-CH" sz="1800" b="0" i="0" u="none" strike="noStrike" kern="1200" cap="none" spc="0" normalizeH="0" baseline="0" noProof="0" dirty="0">
              <a:ln>
                <a:noFill/>
              </a:ln>
              <a:solidFill>
                <a:srgbClr val="00497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6596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1384" y="304803"/>
            <a:ext cx="9672122" cy="948980"/>
          </a:xfrm>
        </p:spPr>
        <p:txBody>
          <a:bodyPr/>
          <a:lstStyle/>
          <a:p>
            <a:r>
              <a:rPr lang="fr-CH" dirty="0"/>
              <a:t>Origines de la </a:t>
            </a:r>
            <a:r>
              <a:rPr lang="fr-CH" dirty="0" smtClean="0"/>
              <a:t>réforme – Année 2021</a:t>
            </a:r>
            <a:r>
              <a:rPr lang="fr-CH" dirty="0"/>
              <a:t/>
            </a:r>
            <a:br>
              <a:rPr lang="fr-CH" dirty="0"/>
            </a:br>
            <a:r>
              <a:rPr lang="fr-CH" dirty="0"/>
              <a:t>—</a:t>
            </a:r>
          </a:p>
        </p:txBody>
      </p:sp>
      <p:graphicFrame>
        <p:nvGraphicFramePr>
          <p:cNvPr id="3" name="Diagramme 2"/>
          <p:cNvGraphicFramePr/>
          <p:nvPr>
            <p:extLst>
              <p:ext uri="{D42A27DB-BD31-4B8C-83A1-F6EECF244321}">
                <p14:modId xmlns:p14="http://schemas.microsoft.com/office/powerpoint/2010/main" val="2623707489"/>
              </p:ext>
            </p:extLst>
          </p:nvPr>
        </p:nvGraphicFramePr>
        <p:xfrm>
          <a:off x="551384" y="1178295"/>
          <a:ext cx="11018942" cy="49205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2" descr="News Clipart Source Information - Fake News Icon - Png Download - Full Size  Clipart (#1536727) - PinClipart"/>
          <p:cNvPicPr>
            <a:picLocks noChangeAspect="1" noChangeArrowheads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649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9564" y="304803"/>
            <a:ext cx="736667" cy="70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35084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4"/>
          <p:cNvSpPr>
            <a:spLocks noGrp="1"/>
          </p:cNvSpPr>
          <p:nvPr>
            <p:ph type="title"/>
          </p:nvPr>
        </p:nvSpPr>
        <p:spPr>
          <a:xfrm>
            <a:off x="551384" y="304803"/>
            <a:ext cx="9672122" cy="94898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fr-CH" dirty="0"/>
              <a:t>Origines de la réform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pic>
        <p:nvPicPr>
          <p:cNvPr id="3" name="Picture 2" descr="News Clipart Source Information - Fake News Icon - Png Download - Full Size  Clipart (#1536727) - PinClipart"/>
          <p:cNvPicPr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649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05721" y="222667"/>
            <a:ext cx="736667" cy="70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83C7D61E-512E-411D-AF7C-9A9C4FD5AF9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7966"/>
          <a:stretch/>
        </p:blipFill>
        <p:spPr>
          <a:xfrm>
            <a:off x="1991544" y="1253782"/>
            <a:ext cx="8172138" cy="2391241"/>
          </a:xfrm>
          <a:prstGeom prst="rect">
            <a:avLst/>
          </a:prstGeom>
        </p:spPr>
      </p:pic>
      <p:sp>
        <p:nvSpPr>
          <p:cNvPr id="11" name="Espace réservé du contenu 2"/>
          <p:cNvSpPr txBox="1">
            <a:spLocks/>
          </p:cNvSpPr>
          <p:nvPr/>
        </p:nvSpPr>
        <p:spPr bwMode="auto">
          <a:xfrm>
            <a:off x="551384" y="3645025"/>
            <a:ext cx="8242300" cy="2520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58775" indent="-358775" algn="l" defTabSz="457200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2885" indent="-542885">
              <a:spcAft>
                <a:spcPts val="600"/>
              </a:spcAft>
              <a:buBlip>
                <a:blip r:embed="rId6"/>
              </a:buBlip>
            </a:pPr>
            <a:r>
              <a:rPr lang="fr-FR" dirty="0">
                <a:latin typeface="Trebuchet MS" panose="020B0603020202020204" pitchFamily="34" charset="0"/>
              </a:rPr>
              <a:t>L’ECAB </a:t>
            </a:r>
            <a:r>
              <a:rPr lang="fr-FR" dirty="0" smtClean="0">
                <a:latin typeface="Trebuchet MS" panose="020B0603020202020204" pitchFamily="34" charset="0"/>
              </a:rPr>
              <a:t>ne subventionne plus mais acquiert et met à disposition </a:t>
            </a:r>
            <a:r>
              <a:rPr lang="fr-FR" dirty="0">
                <a:latin typeface="Trebuchet MS" panose="020B0603020202020204" pitchFamily="34" charset="0"/>
              </a:rPr>
              <a:t>des véhicules équipés.</a:t>
            </a:r>
          </a:p>
          <a:p>
            <a:pPr marL="542885" indent="-542885">
              <a:lnSpc>
                <a:spcPct val="110000"/>
              </a:lnSpc>
              <a:spcAft>
                <a:spcPts val="600"/>
              </a:spcAft>
              <a:buBlip>
                <a:blip r:embed="rId6"/>
              </a:buBlip>
            </a:pPr>
            <a:r>
              <a:rPr lang="fr-FR" dirty="0">
                <a:latin typeface="Trebuchet MS" panose="020B0603020202020204" pitchFamily="34" charset="0"/>
              </a:rPr>
              <a:t>Le gros entretien des véhicules est assuré par des enveloppes financières annuelles. </a:t>
            </a:r>
          </a:p>
          <a:p>
            <a:pPr marL="542885" indent="-542885">
              <a:lnSpc>
                <a:spcPct val="110000"/>
              </a:lnSpc>
              <a:spcAft>
                <a:spcPts val="600"/>
              </a:spcAft>
              <a:buBlip>
                <a:blip r:embed="rId6"/>
              </a:buBlip>
            </a:pPr>
            <a:r>
              <a:rPr lang="fr-FR" dirty="0">
                <a:latin typeface="Trebuchet MS" panose="020B0603020202020204" pitchFamily="34" charset="0"/>
              </a:rPr>
              <a:t>Les bataillons ont la responsabilité de l’entretien courant des véhicules, de même que de </a:t>
            </a:r>
            <a:r>
              <a:rPr lang="fr-FR" b="1" dirty="0">
                <a:latin typeface="Trebuchet MS" panose="020B0603020202020204" pitchFamily="34" charset="0"/>
              </a:rPr>
              <a:t>l’entretien et le renouvellement du matériel</a:t>
            </a:r>
          </a:p>
          <a:p>
            <a:pPr marL="0" indent="0">
              <a:buNone/>
            </a:pPr>
            <a:endParaRPr lang="fr-CH" dirty="0">
              <a:latin typeface="Trebuchet MS" panose="020B0603020202020204" pitchFamily="34" charset="0"/>
            </a:endParaRPr>
          </a:p>
          <a:p>
            <a:pPr marL="0" indent="0">
              <a:buNone/>
            </a:pPr>
            <a:endParaRPr lang="fr-CH" dirty="0">
              <a:latin typeface="Trebuchet MS" panose="020B0603020202020204" pitchFamily="34" charset="0"/>
            </a:endParaRPr>
          </a:p>
          <a:p>
            <a:pPr marL="0" indent="0">
              <a:buNone/>
            </a:pPr>
            <a:endParaRPr lang="fr-CH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02987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1384" y="304803"/>
            <a:ext cx="9672122" cy="948980"/>
          </a:xfrm>
        </p:spPr>
        <p:txBody>
          <a:bodyPr/>
          <a:lstStyle/>
          <a:p>
            <a:r>
              <a:rPr lang="fr-CH" dirty="0" smtClean="0"/>
              <a:t>Rétrospective des travaux</a:t>
            </a:r>
            <a:r>
              <a:rPr lang="fr-CH" dirty="0"/>
              <a:t/>
            </a:r>
            <a:br>
              <a:rPr lang="fr-CH" dirty="0"/>
            </a:br>
            <a:r>
              <a:rPr lang="fr-CH" dirty="0"/>
              <a:t>—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911424" y="1420734"/>
            <a:ext cx="9937104" cy="1152127"/>
            <a:chOff x="-612581" y="1240712"/>
            <a:chExt cx="9619278" cy="1152128"/>
          </a:xfrm>
        </p:grpSpPr>
        <p:grpSp>
          <p:nvGrpSpPr>
            <p:cNvPr id="8" name="Groupe 7"/>
            <p:cNvGrpSpPr/>
            <p:nvPr/>
          </p:nvGrpSpPr>
          <p:grpSpPr>
            <a:xfrm>
              <a:off x="-612581" y="1240712"/>
              <a:ext cx="9617587" cy="1152128"/>
              <a:chOff x="-528452" y="1492740"/>
              <a:chExt cx="9617587" cy="1152128"/>
            </a:xfrm>
          </p:grpSpPr>
          <p:pic>
            <p:nvPicPr>
              <p:cNvPr id="4" name="Image 3"/>
              <p:cNvPicPr>
                <a:picLocks noChangeAspect="1"/>
              </p:cNvPicPr>
              <p:nvPr/>
            </p:nvPicPr>
            <p:blipFill rotWithShape="1">
              <a:blip r:embed="rId2"/>
              <a:srcRect t="10291" b="15135"/>
              <a:stretch/>
            </p:blipFill>
            <p:spPr>
              <a:xfrm>
                <a:off x="-528452" y="1492740"/>
                <a:ext cx="1544960" cy="1152128"/>
              </a:xfrm>
              <a:prstGeom prst="rect">
                <a:avLst/>
              </a:prstGeom>
            </p:spPr>
          </p:pic>
          <p:sp>
            <p:nvSpPr>
              <p:cNvPr id="9" name="TextBox 99"/>
              <p:cNvSpPr txBox="1"/>
              <p:nvPr/>
            </p:nvSpPr>
            <p:spPr>
              <a:xfrm>
                <a:off x="1199741" y="1727289"/>
                <a:ext cx="7889394" cy="707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fr-FR" b="1" dirty="0">
                    <a:solidFill>
                      <a:srgbClr val="0D52A0"/>
                    </a:solidFill>
                    <a:latin typeface="Trebuchet MS" panose="020B0603020202020204" pitchFamily="34" charset="0"/>
                  </a:rPr>
                  <a:t>COPIL : </a:t>
                </a:r>
                <a:r>
                  <a:rPr lang="fr-FR" b="1" dirty="0" smtClean="0">
                    <a:solidFill>
                      <a:srgbClr val="0D52A0"/>
                    </a:solidFill>
                    <a:latin typeface="Trebuchet MS" panose="020B0603020202020204" pitchFamily="34" charset="0"/>
                  </a:rPr>
                  <a:t>3 séances entre </a:t>
                </a:r>
                <a:r>
                  <a:rPr lang="fr-FR" b="1" dirty="0">
                    <a:solidFill>
                      <a:srgbClr val="0D52A0"/>
                    </a:solidFill>
                    <a:latin typeface="Trebuchet MS" panose="020B0603020202020204" pitchFamily="34" charset="0"/>
                  </a:rPr>
                  <a:t>le 21 septembre </a:t>
                </a:r>
                <a:r>
                  <a:rPr lang="fr-FR" b="1" dirty="0" smtClean="0">
                    <a:solidFill>
                      <a:srgbClr val="0D52A0"/>
                    </a:solidFill>
                    <a:latin typeface="Trebuchet MS" panose="020B0603020202020204" pitchFamily="34" charset="0"/>
                  </a:rPr>
                  <a:t>2021 et </a:t>
                </a:r>
                <a:r>
                  <a:rPr lang="fr-FR" b="1" dirty="0">
                    <a:solidFill>
                      <a:srgbClr val="0D52A0"/>
                    </a:solidFill>
                    <a:latin typeface="Trebuchet MS" panose="020B0603020202020204" pitchFamily="34" charset="0"/>
                  </a:rPr>
                  <a:t>le </a:t>
                </a:r>
                <a:r>
                  <a:rPr lang="fr-FR" b="1" dirty="0" smtClean="0">
                    <a:solidFill>
                      <a:srgbClr val="0D52A0"/>
                    </a:solidFill>
                    <a:latin typeface="Trebuchet MS" panose="020B0603020202020204" pitchFamily="34" charset="0"/>
                  </a:rPr>
                  <a:t>31 août 2022</a:t>
                </a:r>
                <a:endParaRPr lang="fr-CH" b="1" dirty="0">
                  <a:solidFill>
                    <a:srgbClr val="0D52A0"/>
                  </a:solidFill>
                  <a:latin typeface="Trebuchet MS" panose="020B0603020202020204" pitchFamily="34" charset="0"/>
                </a:endParaRPr>
              </a:p>
            </p:txBody>
          </p:sp>
        </p:grpSp>
        <p:sp>
          <p:nvSpPr>
            <p:cNvPr id="13" name="TextBox 99"/>
            <p:cNvSpPr txBox="1"/>
            <p:nvPr/>
          </p:nvSpPr>
          <p:spPr>
            <a:xfrm>
              <a:off x="1117302" y="1875371"/>
              <a:ext cx="788939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fr-FR" b="1" dirty="0">
                  <a:solidFill>
                    <a:srgbClr val="0D52A0"/>
                  </a:solidFill>
                  <a:latin typeface="Trebuchet MS" panose="020B0603020202020204" pitchFamily="34" charset="0"/>
                </a:rPr>
                <a:t>COPRO : </a:t>
              </a:r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9 </a:t>
              </a:r>
              <a:r>
                <a:rPr lang="fr-FR" b="1" dirty="0">
                  <a:solidFill>
                    <a:srgbClr val="0D52A0"/>
                  </a:solidFill>
                  <a:latin typeface="Trebuchet MS" panose="020B0603020202020204" pitchFamily="34" charset="0"/>
                </a:rPr>
                <a:t>séances entre le 31 août 2021 et le </a:t>
              </a:r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31 août 2022</a:t>
              </a:r>
              <a:endParaRPr lang="fr-CH" b="1" dirty="0">
                <a:solidFill>
                  <a:srgbClr val="0D52A0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17" name="Groupe 16"/>
          <p:cNvGrpSpPr/>
          <p:nvPr/>
        </p:nvGrpSpPr>
        <p:grpSpPr>
          <a:xfrm>
            <a:off x="1823286" y="2692086"/>
            <a:ext cx="8867648" cy="1477328"/>
            <a:chOff x="323528" y="1359934"/>
            <a:chExt cx="8867648" cy="1477329"/>
          </a:xfrm>
        </p:grpSpPr>
        <p:pic>
          <p:nvPicPr>
            <p:cNvPr id="20" name="Image 19"/>
            <p:cNvPicPr>
              <a:picLocks noChangeAspect="1"/>
            </p:cNvPicPr>
            <p:nvPr/>
          </p:nvPicPr>
          <p:blipFill rotWithShape="1">
            <a:blip r:embed="rId2"/>
            <a:srcRect t="10291" b="15135"/>
            <a:stretch/>
          </p:blipFill>
          <p:spPr>
            <a:xfrm>
              <a:off x="323528" y="1412776"/>
              <a:ext cx="1544960" cy="1152128"/>
            </a:xfrm>
            <a:prstGeom prst="rect">
              <a:avLst/>
            </a:prstGeom>
          </p:spPr>
        </p:pic>
        <p:sp>
          <p:nvSpPr>
            <p:cNvPr id="19" name="TextBox 99"/>
            <p:cNvSpPr txBox="1"/>
            <p:nvPr/>
          </p:nvSpPr>
          <p:spPr>
            <a:xfrm>
              <a:off x="1837169" y="1359934"/>
              <a:ext cx="7354007" cy="1477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Plus d'une dizaine de séances entre les différents GT (Bataillon, Finances, Communication)</a:t>
              </a:r>
            </a:p>
            <a:p>
              <a:pPr algn="l">
                <a:spcAft>
                  <a:spcPts val="600"/>
                </a:spcAft>
              </a:pPr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Plusieurs séances de travail avec l'ECAB pour l'établissement des budgets et des cartes </a:t>
              </a:r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opérationnelles</a:t>
              </a:r>
              <a:endParaRPr lang="fr-CH" b="1" dirty="0">
                <a:solidFill>
                  <a:srgbClr val="0D52A0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22" name="Groupe 21"/>
          <p:cNvGrpSpPr/>
          <p:nvPr/>
        </p:nvGrpSpPr>
        <p:grpSpPr>
          <a:xfrm>
            <a:off x="407368" y="4518995"/>
            <a:ext cx="11219225" cy="1631216"/>
            <a:chOff x="-900612" y="4476161"/>
            <a:chExt cx="11002111" cy="1631215"/>
          </a:xfrm>
        </p:grpSpPr>
        <p:pic>
          <p:nvPicPr>
            <p:cNvPr id="21506" name="Picture 2" descr="Download Training Icon PNG Image with No Background - PNGkey.com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22270" y="4547022"/>
              <a:ext cx="2112169" cy="11817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99"/>
            <p:cNvSpPr txBox="1"/>
            <p:nvPr/>
          </p:nvSpPr>
          <p:spPr>
            <a:xfrm>
              <a:off x="5156798" y="4476161"/>
              <a:ext cx="4944701" cy="1631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fr-FR" b="1" dirty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  <a:t>6</a:t>
              </a:r>
              <a:r>
                <a:rPr lang="fr-FR" b="1" dirty="0" smtClean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  <a:t> </a:t>
              </a:r>
              <a:r>
                <a:rPr lang="fr-FR" b="1" dirty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  <a:t>séances d'information </a:t>
              </a:r>
              <a:r>
                <a:rPr lang="fr-FR" b="1" dirty="0" smtClean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  <a:t>aux </a:t>
              </a:r>
              <a:r>
                <a:rPr lang="fr-FR" b="1" dirty="0" err="1" smtClean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  <a:t>cdts</a:t>
              </a:r>
              <a:r>
                <a:rPr lang="fr-FR" b="1" dirty="0" smtClean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  <a:t>/</a:t>
              </a:r>
              <a:r>
                <a:rPr lang="fr-FR" b="1" dirty="0" err="1" smtClean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  <a:t>rempl</a:t>
              </a:r>
              <a:r>
                <a:rPr lang="fr-FR" b="1" dirty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  <a:t>.</a:t>
              </a:r>
              <a:br>
                <a:rPr lang="fr-FR" b="1" dirty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</a:br>
              <a:r>
                <a:rPr lang="fr-FR" b="1" dirty="0">
                  <a:solidFill>
                    <a:srgbClr val="0D52A0"/>
                  </a:solidFill>
                  <a:latin typeface="Trebuchet MS" panose="020B0603020202020204" pitchFamily="34" charset="0"/>
                </a:rPr>
                <a:t>28 juin / 21 </a:t>
              </a:r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septembre</a:t>
              </a:r>
              <a:b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</a:br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02 novembre </a:t>
              </a:r>
              <a:r>
                <a:rPr lang="fr-FR" b="1" dirty="0">
                  <a:solidFill>
                    <a:srgbClr val="0D52A0"/>
                  </a:solidFill>
                  <a:latin typeface="Trebuchet MS" panose="020B0603020202020204" pitchFamily="34" charset="0"/>
                </a:rPr>
                <a:t>2021</a:t>
              </a:r>
              <a:br>
                <a:rPr lang="fr-FR" b="1" dirty="0">
                  <a:solidFill>
                    <a:srgbClr val="0D52A0"/>
                  </a:solidFill>
                  <a:latin typeface="Trebuchet MS" panose="020B0603020202020204" pitchFamily="34" charset="0"/>
                </a:rPr>
              </a:br>
              <a:r>
                <a:rPr lang="fr-FR" b="1" dirty="0">
                  <a:solidFill>
                    <a:srgbClr val="0D52A0"/>
                  </a:solidFill>
                  <a:latin typeface="Trebuchet MS" panose="020B0603020202020204" pitchFamily="34" charset="0"/>
                </a:rPr>
                <a:t>19 </a:t>
              </a:r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janvier / 23 février</a:t>
              </a:r>
              <a:b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</a:br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18 mai </a:t>
              </a:r>
              <a:r>
                <a:rPr lang="fr-FR" b="1" dirty="0">
                  <a:solidFill>
                    <a:srgbClr val="0D52A0"/>
                  </a:solidFill>
                  <a:latin typeface="Trebuchet MS" panose="020B0603020202020204" pitchFamily="34" charset="0"/>
                </a:rPr>
                <a:t>2022</a:t>
              </a:r>
              <a:endParaRPr lang="fr-CH" b="1" dirty="0">
                <a:solidFill>
                  <a:srgbClr val="0D52A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24" name="TextBox 99"/>
            <p:cNvSpPr txBox="1"/>
            <p:nvPr/>
          </p:nvSpPr>
          <p:spPr>
            <a:xfrm>
              <a:off x="-900612" y="4476161"/>
              <a:ext cx="4801785" cy="1323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fr-FR" b="1" dirty="0" smtClean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  <a:t>3 Séances </a:t>
              </a:r>
              <a:r>
                <a:rPr lang="fr-FR" b="1" dirty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  <a:t>d'information aux </a:t>
              </a:r>
              <a:r>
                <a:rPr lang="fr-FR" b="1" dirty="0" smtClean="0">
                  <a:solidFill>
                    <a:srgbClr val="0D52A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 pitchFamily="34" charset="0"/>
                </a:rPr>
                <a:t>communes</a:t>
              </a:r>
              <a:r>
                <a:rPr lang="fr-FR" b="1" dirty="0">
                  <a:solidFill>
                    <a:srgbClr val="0D52A0"/>
                  </a:solidFill>
                  <a:latin typeface="Trebuchet MS" panose="020B0603020202020204" pitchFamily="34" charset="0"/>
                </a:rPr>
                <a:t/>
              </a:r>
              <a:br>
                <a:rPr lang="fr-FR" b="1" dirty="0">
                  <a:solidFill>
                    <a:srgbClr val="0D52A0"/>
                  </a:solidFill>
                  <a:latin typeface="Trebuchet MS" panose="020B0603020202020204" pitchFamily="34" charset="0"/>
                </a:rPr>
              </a:br>
              <a:r>
                <a:rPr lang="fr-FR" b="1" dirty="0">
                  <a:solidFill>
                    <a:srgbClr val="0D52A0"/>
                  </a:solidFill>
                  <a:latin typeface="Trebuchet MS" panose="020B0603020202020204" pitchFamily="34" charset="0"/>
                </a:rPr>
                <a:t>04 novembre </a:t>
              </a:r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2021</a:t>
              </a:r>
              <a:b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</a:br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23 février 2022</a:t>
              </a:r>
            </a:p>
            <a:p>
              <a:pPr algn="l"/>
              <a:r>
                <a:rPr lang="fr-FR" b="1" dirty="0" smtClean="0">
                  <a:solidFill>
                    <a:srgbClr val="0D52A0"/>
                  </a:solidFill>
                  <a:latin typeface="Trebuchet MS" panose="020B0603020202020204" pitchFamily="34" charset="0"/>
                </a:rPr>
                <a:t>18 mai 2022</a:t>
              </a:r>
              <a:endParaRPr lang="fr-CH" b="1" dirty="0">
                <a:solidFill>
                  <a:srgbClr val="0D52A0"/>
                </a:solidFill>
                <a:latin typeface="Trebuchet MS" panose="020B0603020202020204" pitchFamily="34" charset="0"/>
              </a:endParaRPr>
            </a:p>
          </p:txBody>
        </p:sp>
      </p:grpSp>
      <p:pic>
        <p:nvPicPr>
          <p:cNvPr id="25" name="Picture 4" descr="FISY | Fonds d&amp;#39;investissement – Étapes de levée de fond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2959" y="194143"/>
            <a:ext cx="2017367" cy="98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42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1384" y="304803"/>
            <a:ext cx="9672122" cy="948980"/>
          </a:xfrm>
        </p:spPr>
        <p:txBody>
          <a:bodyPr/>
          <a:lstStyle/>
          <a:p>
            <a:r>
              <a:rPr lang="fr-CH" dirty="0" smtClean="0"/>
              <a:t>Projet LDIS aujourd'hui</a:t>
            </a:r>
            <a:r>
              <a:rPr lang="fr-CH" dirty="0"/>
              <a:t/>
            </a:r>
            <a:br>
              <a:rPr lang="fr-CH" dirty="0"/>
            </a:br>
            <a:r>
              <a:rPr lang="fr-CH" dirty="0"/>
              <a:t>—</a:t>
            </a:r>
          </a:p>
        </p:txBody>
      </p:sp>
      <p:pic>
        <p:nvPicPr>
          <p:cNvPr id="23554" name="Picture 2" descr="Calendário de corridas de rua: 8 provas agitam o mês de agosto no ES! –  Corrida de Ru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9666" y="295085"/>
            <a:ext cx="885273" cy="9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contenu 2"/>
          <p:cNvSpPr txBox="1">
            <a:spLocks/>
          </p:cNvSpPr>
          <p:nvPr/>
        </p:nvSpPr>
        <p:spPr bwMode="auto">
          <a:xfrm>
            <a:off x="551384" y="1492396"/>
            <a:ext cx="9672122" cy="483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358775" indent="-358775" algn="l" defTabSz="457200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2885" indent="-542885">
              <a:lnSpc>
                <a:spcPct val="150000"/>
              </a:lnSpc>
              <a:buBlip>
                <a:blip r:embed="rId3"/>
              </a:buBlip>
            </a:pPr>
            <a:r>
              <a:rPr lang="fr-FR" b="1" dirty="0">
                <a:latin typeface="Trebuchet MS" panose="020B0603020202020204" pitchFamily="34" charset="0"/>
              </a:rPr>
              <a:t>Prise de fonction du Directeur </a:t>
            </a:r>
            <a:r>
              <a:rPr lang="fr-FR" b="1" dirty="0" smtClean="0">
                <a:latin typeface="Trebuchet MS" panose="020B0603020202020204" pitchFamily="34" charset="0"/>
              </a:rPr>
              <a:t>Secours – Début 2022</a:t>
            </a:r>
            <a:endParaRPr lang="fr-CH" b="1" dirty="0">
              <a:latin typeface="Trebuchet MS" panose="020B0603020202020204" pitchFamily="34" charset="0"/>
            </a:endParaRPr>
          </a:p>
          <a:p>
            <a:pPr marL="542885" indent="-542885">
              <a:lnSpc>
                <a:spcPct val="150000"/>
              </a:lnSpc>
              <a:buBlip>
                <a:blip r:embed="rId3"/>
              </a:buBlip>
            </a:pPr>
            <a:r>
              <a:rPr lang="fr-FR" b="1" dirty="0">
                <a:latin typeface="Trebuchet MS" panose="020B0603020202020204" pitchFamily="34" charset="0"/>
              </a:rPr>
              <a:t>Analyses multicritères par base de départ </a:t>
            </a:r>
            <a:r>
              <a:rPr lang="fr-FR" b="1" dirty="0" smtClean="0">
                <a:latin typeface="Trebuchet MS" panose="020B0603020202020204" pitchFamily="34" charset="0"/>
              </a:rPr>
              <a:t>2023</a:t>
            </a:r>
          </a:p>
          <a:p>
            <a:pPr marL="542885" indent="-542885">
              <a:lnSpc>
                <a:spcPct val="150000"/>
              </a:lnSpc>
              <a:buBlip>
                <a:blip r:embed="rId3"/>
              </a:buBlip>
            </a:pPr>
            <a:r>
              <a:rPr lang="fr-FR" b="1" dirty="0" smtClean="0">
                <a:latin typeface="Trebuchet MS" panose="020B0603020202020204" pitchFamily="34" charset="0"/>
              </a:rPr>
              <a:t>Composition des organigrammes des bases de départ</a:t>
            </a:r>
            <a:endParaRPr lang="fr-FR" b="1" dirty="0">
              <a:latin typeface="Trebuchet MS" panose="020B0603020202020204" pitchFamily="34" charset="0"/>
            </a:endParaRPr>
          </a:p>
          <a:p>
            <a:pPr marL="542885" indent="-542885">
              <a:lnSpc>
                <a:spcPct val="150000"/>
              </a:lnSpc>
              <a:buBlip>
                <a:blip r:embed="rId3"/>
              </a:buBlip>
            </a:pPr>
            <a:r>
              <a:rPr lang="fr-FR" b="1" dirty="0">
                <a:latin typeface="Trebuchet MS" panose="020B0603020202020204" pitchFamily="34" charset="0"/>
              </a:rPr>
              <a:t>Plan de communication du projet (RSS) – Flyer, sondage, séances d'informations, etc.</a:t>
            </a:r>
          </a:p>
          <a:p>
            <a:pPr marL="542885" indent="-542885">
              <a:lnSpc>
                <a:spcPct val="150000"/>
              </a:lnSpc>
              <a:buBlip>
                <a:blip r:embed="rId3"/>
              </a:buBlip>
            </a:pPr>
            <a:r>
              <a:rPr lang="fr-FR" b="1" dirty="0">
                <a:latin typeface="Trebuchet MS" panose="020B0603020202020204" pitchFamily="34" charset="0"/>
              </a:rPr>
              <a:t>Visite des casernes du district et première discussion avec les communes concernant les infrastructures</a:t>
            </a:r>
          </a:p>
          <a:p>
            <a:pPr marL="542885" indent="-542885">
              <a:lnSpc>
                <a:spcPct val="150000"/>
              </a:lnSpc>
              <a:buBlip>
                <a:blip r:embed="rId3"/>
              </a:buBlip>
            </a:pPr>
            <a:r>
              <a:rPr lang="fr-FR" b="1" dirty="0">
                <a:latin typeface="Trebuchet MS" panose="020B0603020202020204" pitchFamily="34" charset="0"/>
              </a:rPr>
              <a:t>Montage du budget POMPIERS </a:t>
            </a:r>
            <a:r>
              <a:rPr lang="fr-FR" b="1" dirty="0" smtClean="0">
                <a:latin typeface="Trebuchet MS" panose="020B0603020202020204" pitchFamily="34" charset="0"/>
              </a:rPr>
              <a:t>2023</a:t>
            </a:r>
          </a:p>
          <a:p>
            <a:pPr marL="542885" indent="-542885">
              <a:lnSpc>
                <a:spcPct val="150000"/>
              </a:lnSpc>
              <a:buBlip>
                <a:blip r:embed="rId3"/>
              </a:buBlip>
            </a:pPr>
            <a:r>
              <a:rPr lang="fr-FR" b="1" dirty="0" smtClean="0">
                <a:latin typeface="Trebuchet MS" panose="020B0603020202020204" pitchFamily="34" charset="0"/>
              </a:rPr>
              <a:t>Validation des statuts par l'Assemblée des Délégués du RSS – 01 juin 2022</a:t>
            </a:r>
            <a:endParaRPr lang="fr-CH" b="1" dirty="0">
              <a:latin typeface="Trebuchet MS" panose="020B0603020202020204" pitchFamily="34" charset="0"/>
            </a:endParaRPr>
          </a:p>
          <a:p>
            <a:pPr marL="0" indent="0">
              <a:buNone/>
            </a:pPr>
            <a:endParaRPr lang="fr-CH" dirty="0">
              <a:latin typeface="Trebuchet MS" panose="020B0603020202020204" pitchFamily="34" charset="0"/>
            </a:endParaRPr>
          </a:p>
          <a:p>
            <a:pPr marL="0" indent="0">
              <a:buNone/>
            </a:pPr>
            <a:endParaRPr lang="fr-CH" dirty="0">
              <a:latin typeface="Trebuchet MS" panose="020B0603020202020204" pitchFamily="34" charset="0"/>
            </a:endParaRPr>
          </a:p>
          <a:p>
            <a:pPr marL="0" indent="0">
              <a:buNone/>
            </a:pPr>
            <a:endParaRPr lang="fr-CH" dirty="0">
              <a:latin typeface="Trebuchet MS" panose="020B0603020202020204" pitchFamily="34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8168" y="1253783"/>
            <a:ext cx="2074372" cy="1186025"/>
          </a:xfrm>
          <a:prstGeom prst="rect">
            <a:avLst/>
          </a:prstGeom>
        </p:spPr>
      </p:pic>
      <p:pic>
        <p:nvPicPr>
          <p:cNvPr id="23556" name="Picture 4" descr="Budget PNG Transparent HD Photo | PNG All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2384" y="4077076"/>
            <a:ext cx="2253425" cy="225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28448" y="2042981"/>
            <a:ext cx="1456629" cy="2034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617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1384" y="304803"/>
            <a:ext cx="9672122" cy="948980"/>
          </a:xfrm>
        </p:spPr>
        <p:txBody>
          <a:bodyPr/>
          <a:lstStyle/>
          <a:p>
            <a:r>
              <a:rPr lang="fr-CH" dirty="0" smtClean="0"/>
              <a:t>Rétrospective 1</a:t>
            </a:r>
            <a:r>
              <a:rPr lang="fr-CH" baseline="30000" dirty="0" smtClean="0"/>
              <a:t>er</a:t>
            </a:r>
            <a:r>
              <a:rPr lang="fr-CH" dirty="0" smtClean="0"/>
              <a:t> semestre 2022</a:t>
            </a:r>
            <a:r>
              <a:rPr lang="fr-CH" dirty="0"/>
              <a:t/>
            </a:r>
            <a:br>
              <a:rPr lang="fr-CH" dirty="0"/>
            </a:br>
            <a:r>
              <a:rPr lang="fr-CH" dirty="0"/>
              <a:t>—</a:t>
            </a:r>
          </a:p>
        </p:txBody>
      </p:sp>
      <p:pic>
        <p:nvPicPr>
          <p:cNvPr id="27652" name="Picture 4" descr="FISY | Fonds d&amp;#39;investissement – Étapes de levée de fond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2959" y="89034"/>
            <a:ext cx="2017367" cy="98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Diagramme 2"/>
          <p:cNvGraphicFramePr/>
          <p:nvPr>
            <p:extLst>
              <p:ext uri="{D42A27DB-BD31-4B8C-83A1-F6EECF244321}">
                <p14:modId xmlns:p14="http://schemas.microsoft.com/office/powerpoint/2010/main" val="1105743354"/>
              </p:ext>
            </p:extLst>
          </p:nvPr>
        </p:nvGraphicFramePr>
        <p:xfrm>
          <a:off x="551384" y="1190327"/>
          <a:ext cx="11018942" cy="49205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75340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1384" y="304803"/>
            <a:ext cx="9672122" cy="948980"/>
          </a:xfrm>
        </p:spPr>
        <p:txBody>
          <a:bodyPr/>
          <a:lstStyle/>
          <a:p>
            <a:r>
              <a:rPr lang="fr-CH" dirty="0" smtClean="0"/>
              <a:t>Perspective 2</a:t>
            </a:r>
            <a:r>
              <a:rPr lang="fr-CH" baseline="30000" dirty="0" smtClean="0"/>
              <a:t>ème</a:t>
            </a:r>
            <a:r>
              <a:rPr lang="fr-CH" dirty="0" smtClean="0"/>
              <a:t> semestre 2022</a:t>
            </a:r>
            <a:r>
              <a:rPr lang="fr-CH" dirty="0"/>
              <a:t/>
            </a:r>
            <a:br>
              <a:rPr lang="fr-CH" dirty="0"/>
            </a:br>
            <a:r>
              <a:rPr lang="fr-CH" dirty="0"/>
              <a:t>—</a:t>
            </a:r>
          </a:p>
        </p:txBody>
      </p:sp>
      <p:pic>
        <p:nvPicPr>
          <p:cNvPr id="27652" name="Picture 4" descr="FISY | Fonds d&amp;#39;investissement – Étapes de levée de fond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2959" y="189189"/>
            <a:ext cx="2017367" cy="98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Diagramme 2"/>
          <p:cNvGraphicFramePr/>
          <p:nvPr>
            <p:extLst>
              <p:ext uri="{D42A27DB-BD31-4B8C-83A1-F6EECF244321}">
                <p14:modId xmlns:p14="http://schemas.microsoft.com/office/powerpoint/2010/main" val="2972070986"/>
              </p:ext>
            </p:extLst>
          </p:nvPr>
        </p:nvGraphicFramePr>
        <p:xfrm>
          <a:off x="551384" y="1189325"/>
          <a:ext cx="10945216" cy="49205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998156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5</TotalTime>
  <Words>1193</Words>
  <Application>Microsoft Office PowerPoint</Application>
  <PresentationFormat>Grand écran</PresentationFormat>
  <Paragraphs>137</Paragraphs>
  <Slides>14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24" baseType="lpstr">
      <vt:lpstr>ＭＳ Ｐゴシック</vt:lpstr>
      <vt:lpstr>Arial</vt:lpstr>
      <vt:lpstr>Calibri</vt:lpstr>
      <vt:lpstr>Lucida Grande</vt:lpstr>
      <vt:lpstr>Trebuchet MS</vt:lpstr>
      <vt:lpstr>Verdana</vt:lpstr>
      <vt:lpstr>Wingdings</vt:lpstr>
      <vt:lpstr>Wingdings 3</vt:lpstr>
      <vt:lpstr>pp_etat_de_fribourg</vt:lpstr>
      <vt:lpstr>think-cell Slide</vt:lpstr>
      <vt:lpstr>Présentation PowerPoint</vt:lpstr>
      <vt:lpstr>Etat d'esprit des sapeurs-pompiers actifs en 2022 —</vt:lpstr>
      <vt:lpstr>Origines de la réforme —</vt:lpstr>
      <vt:lpstr>Origines de la réforme – Année 2021 —</vt:lpstr>
      <vt:lpstr>Origines de la réforme —</vt:lpstr>
      <vt:lpstr>Rétrospective des travaux —</vt:lpstr>
      <vt:lpstr>Projet LDIS aujourd'hui —</vt:lpstr>
      <vt:lpstr>Rétrospective 1er semestre 2022 —</vt:lpstr>
      <vt:lpstr>Perspective 2ème semestre 2022 —</vt:lpstr>
      <vt:lpstr>Nouvelle organisation – Organigramme RSS 2023 —</vt:lpstr>
      <vt:lpstr>Nouvelle organisation – Modification des Statuts RSS —</vt:lpstr>
      <vt:lpstr>Nouvelle organisation niveau cantonal – Bases de départ —</vt:lpstr>
      <vt:lpstr>Nouvelle organisation niveau district – Bases de départ —</vt:lpstr>
      <vt:lpstr>Nouvelle organisation – Proposition d’Organigramme Bataillon Sarine —</vt:lpstr>
    </vt:vector>
  </TitlesOfParts>
  <Company>Sit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Philippe Schneider</dc:creator>
  <cp:lastModifiedBy>Philippe Schneider</cp:lastModifiedBy>
  <cp:revision>931</cp:revision>
  <cp:lastPrinted>2022-05-17T05:43:56Z</cp:lastPrinted>
  <dcterms:created xsi:type="dcterms:W3CDTF">2010-06-30T12:58:58Z</dcterms:created>
  <dcterms:modified xsi:type="dcterms:W3CDTF">2022-08-18T06:36:12Z</dcterms:modified>
</cp:coreProperties>
</file>